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493" r:id="rId2"/>
    <p:sldId id="510" r:id="rId3"/>
    <p:sldId id="511" r:id="rId4"/>
    <p:sldId id="513" r:id="rId5"/>
    <p:sldId id="514" r:id="rId6"/>
    <p:sldId id="512" r:id="rId7"/>
    <p:sldId id="506" r:id="rId8"/>
    <p:sldId id="505" r:id="rId9"/>
    <p:sldId id="507" r:id="rId10"/>
    <p:sldId id="508" r:id="rId11"/>
    <p:sldId id="509" r:id="rId12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42ACCA"/>
    <a:srgbClr val="F4B183"/>
    <a:srgbClr val="FFFFFF"/>
    <a:srgbClr val="C3C3C3"/>
    <a:srgbClr val="5B9BD5"/>
    <a:srgbClr val="F0F7FF"/>
    <a:srgbClr val="FFF2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14" autoAdjust="0"/>
    <p:restoredTop sz="91879" autoAdjust="0"/>
  </p:normalViewPr>
  <p:slideViewPr>
    <p:cSldViewPr snapToGrid="0">
      <p:cViewPr varScale="1">
        <p:scale>
          <a:sx n="78" d="100"/>
          <a:sy n="78" d="100"/>
        </p:scale>
        <p:origin x="68" y="9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FF5307-BD26-4ACB-80B2-F5BB26A9EC8B}" type="datetimeFigureOut">
              <a:rPr lang="ko-KR" altLang="en-US" smtClean="0"/>
              <a:t>2025-04-17 (Thu)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DD653A-4F5C-4D1B-94FE-7CA6DB466FF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18136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52494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045468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400250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09892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581177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DD653A-4F5C-4D1B-94FE-7CA6DB466FF1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887002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2666F2D-8EDA-38C8-956B-89D5D2C8C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D54527A3-03A3-0975-2371-278385A698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8DE0274-95BD-B114-2826-E5910B1A2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7 (Thu)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C937B4D-45B2-B9BA-E1DB-9C64B0126E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ED14C0C-E24C-A3AE-478B-B4820329F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08590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F3C0C8A-121E-9A54-3237-B09CE6C1AE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3EE68351-713F-9586-8FC1-2CD87AFBA0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EDA2019-490B-1538-4D78-52E16DB05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7 (Thu)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E52D2A8-A3F6-B246-AB12-A6A0E1888E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12F277A-C3BB-9171-81EC-CD8030655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0846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3BA11085-3A8F-222F-E4AE-B8BC438BAE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AD177A6-DB0B-FD62-8B49-016F459D9B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2C10B06-89DC-D902-C552-E0E0330F37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7 (Thu)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5F371F3-69F4-2F69-D5AA-09A1FF52FA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23959DC-14D7-FC2A-946B-9DE5371109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853628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본문 슬라이드 1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11AF9551-790E-4CA7-B771-D7C637C8B453}"/>
              </a:ext>
            </a:extLst>
          </p:cNvPr>
          <p:cNvCxnSpPr>
            <a:cxnSpLocks/>
          </p:cNvCxnSpPr>
          <p:nvPr userDrawn="1"/>
        </p:nvCxnSpPr>
        <p:spPr>
          <a:xfrm>
            <a:off x="0" y="684000"/>
            <a:ext cx="12192000" cy="0"/>
          </a:xfrm>
          <a:prstGeom prst="line">
            <a:avLst/>
          </a:prstGeom>
          <a:ln w="19050">
            <a:solidFill>
              <a:srgbClr val="005E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9">
            <a:extLst>
              <a:ext uri="{FF2B5EF4-FFF2-40B4-BE49-F238E27FC236}">
                <a16:creationId xmlns:a16="http://schemas.microsoft.com/office/drawing/2014/main" id="{03C1EE34-771D-4938-B7DA-5C53B3E1FDF6}"/>
              </a:ext>
            </a:extLst>
          </p:cNvPr>
          <p:cNvSpPr txBox="1">
            <a:spLocks/>
          </p:cNvSpPr>
          <p:nvPr userDrawn="1"/>
        </p:nvSpPr>
        <p:spPr>
          <a:xfrm>
            <a:off x="11731257" y="640079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2FB999-8CE9-F74D-A269-3C1276EEB479}" type="slidenum">
              <a:rPr kumimoji="1" lang="en-US" altLang="en-US" sz="1000" b="0" i="0" kern="1200" smtClean="0">
                <a:solidFill>
                  <a:schemeClr val="bg1">
                    <a:lumMod val="75000"/>
                  </a:schemeClr>
                </a:solidFill>
                <a:latin typeface="Noto Sans Korean Regular" panose="020B0500000000000000" pitchFamily="34" charset="-128"/>
                <a:ea typeface="Noto Sans Korean Regular" panose="020B0500000000000000" pitchFamily="34" charset="-128"/>
                <a:cs typeface="+mn-cs"/>
              </a:rPr>
              <a:pPr/>
              <a:t>‹#›</a:t>
            </a:fld>
            <a:endParaRPr kumimoji="1" lang="en-US" altLang="en-US" sz="1000" b="0" i="0" kern="1200" dirty="0">
              <a:solidFill>
                <a:schemeClr val="bg1">
                  <a:lumMod val="75000"/>
                </a:schemeClr>
              </a:solidFill>
              <a:latin typeface="Noto Sans Korean Regular" panose="020B0500000000000000" pitchFamily="34" charset="-128"/>
              <a:ea typeface="Noto Sans Korean Regular" panose="020B05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8441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4080741-4671-F86E-11D0-C9F651F34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F3411EF-7018-5C8A-5D23-CEB1CD6462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8928B98-A6BA-B321-5568-9877D37F11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7 (Thu)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20B31C6-B98C-7AA7-489C-A5851D0AA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B00DDA0-03C9-2D57-F8E8-530A97E45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13990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8010233-8975-865A-0243-7F5B73C33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93724DF5-7F38-07B2-F7F3-B37A97F880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3B3097B-D448-FC79-B607-96EA3B82E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7 (Thu)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128A159-6DC6-E822-B587-B88DD9EB85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F9CB8F2-CB21-BEAE-5367-3842CCAC2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904672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0A6721-A051-EBB4-46E2-95A95F26F3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60C7BE6-06D8-9128-431F-D7AFDBEEDF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1EF5A625-DBD5-675D-29E9-3928652A8E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DD13973-0E82-55F3-BD29-5DD342D89A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7 (Thu)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84AD9171-0D38-EB8A-4115-C587717E2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C04145E-C675-3D86-FD7B-C19203B4D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77866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F42AEF0-EE1D-0F59-D146-5750F9B72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530FC26-A5D9-7AF0-01BA-DC7480B533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576E525-C780-B2F1-ABD4-F86B67749D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BBDF643D-F110-11C6-68AE-484C71AB9E3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68EC0F5F-B5D7-4DAB-CFA9-76C58A1481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595D4611-67ED-D558-7578-F1340E6F07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7 (Thu)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067E3AD8-7542-AFD9-0DC3-F4CE1C6F9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FDDBBA5D-2E63-4FCE-637D-094905C53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322745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12C3774-3ED9-78B3-05B4-656D841567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02989F0-DC62-A95B-BA2A-D6B7E9517D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7 (Thu)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C610D178-14D8-C48A-7CD7-C66AC38EB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6D8D5CA-570B-1A7D-1915-93D17EBA0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968754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CC73EED0-3835-207A-B06F-1075C73929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7 (Thu)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C4E6E199-087D-C983-9CFA-32E477D177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4F2FB93-0FF8-C5D7-FCA4-906DA1702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867680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FEA32F2-2945-D501-F5F6-4CEC1FE8D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F0178606-1789-C83B-35AF-86D4AAAC97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5E8C0EA-7336-B7FC-AB7A-FA23C1FF97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694CF09-3C84-7DAC-E63D-7A9BD8E91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7 (Thu)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3A7E0B4-C80E-EBE6-BAE1-8965FC8515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0EB5FFAE-F883-E69B-F065-8A9FDBA2F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84972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9B5A87E-59E7-539C-476D-752A5FC6A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ACC86898-5DA9-F09A-ABC8-35E940CB0A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F925B75A-E813-7B75-BBCC-96E492477F6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A0AF389-3B9E-BEC3-43D9-31736F1002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9C417-6301-4137-B006-CEF365CB1766}" type="datetimeFigureOut">
              <a:rPr lang="ko-KR" altLang="en-US" smtClean="0"/>
              <a:t>2025-04-17 (Thu)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224C6CA-C036-180B-33D9-3F2F063432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088EFAA-AD23-F0FC-19B6-4A444FF95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039827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A51142C6-0582-B5E6-613B-C6A60893C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9D4B474F-3D2C-BD28-E13A-49BF545A3E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63CEFF-169E-CE08-9859-1610A69934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9C417-6301-4137-B006-CEF365CB1766}" type="datetimeFigureOut">
              <a:rPr lang="ko-KR" altLang="en-US" smtClean="0"/>
              <a:t>2025-04-17 (Thu)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6FE1CED-5E22-1030-8F9A-781D116674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6D71FD4-CF87-A654-7651-18577520D8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8864E1-CDC7-42E5-817A-DF30EFF5DE1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8611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svg"/><Relationship Id="rId18" Type="http://schemas.openxmlformats.org/officeDocument/2006/relationships/image" Target="../media/image16.png"/><Relationship Id="rId26" Type="http://schemas.openxmlformats.org/officeDocument/2006/relationships/image" Target="../media/image23.png"/><Relationship Id="rId3" Type="http://schemas.openxmlformats.org/officeDocument/2006/relationships/image" Target="../media/image1.png"/><Relationship Id="rId21" Type="http://schemas.openxmlformats.org/officeDocument/2006/relationships/image" Target="../media/image19.sv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15.svg"/><Relationship Id="rId25" Type="http://schemas.microsoft.com/office/2007/relationships/hdphoto" Target="../media/hdphoto1.wdp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svg"/><Relationship Id="rId11" Type="http://schemas.openxmlformats.org/officeDocument/2006/relationships/image" Target="../media/image9.svg"/><Relationship Id="rId24" Type="http://schemas.openxmlformats.org/officeDocument/2006/relationships/image" Target="../media/image22.png"/><Relationship Id="rId5" Type="http://schemas.openxmlformats.org/officeDocument/2006/relationships/image" Target="../media/image3.png"/><Relationship Id="rId15" Type="http://schemas.openxmlformats.org/officeDocument/2006/relationships/image" Target="../media/image13.svg"/><Relationship Id="rId23" Type="http://schemas.openxmlformats.org/officeDocument/2006/relationships/image" Target="../media/image21.png"/><Relationship Id="rId10" Type="http://schemas.openxmlformats.org/officeDocument/2006/relationships/image" Target="../media/image8.png"/><Relationship Id="rId19" Type="http://schemas.openxmlformats.org/officeDocument/2006/relationships/image" Target="../media/image17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png"/><Relationship Id="rId22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9.svg"/><Relationship Id="rId18" Type="http://schemas.openxmlformats.org/officeDocument/2006/relationships/image" Target="../media/image14.png"/><Relationship Id="rId26" Type="http://schemas.openxmlformats.org/officeDocument/2006/relationships/image" Target="../media/image23.png"/><Relationship Id="rId3" Type="http://schemas.openxmlformats.org/officeDocument/2006/relationships/image" Target="../media/image16.png"/><Relationship Id="rId21" Type="http://schemas.openxmlformats.org/officeDocument/2006/relationships/image" Target="../media/image21.png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svg"/><Relationship Id="rId25" Type="http://schemas.microsoft.com/office/2007/relationships/hdphoto" Target="../media/hdphoto1.wdp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2.png"/><Relationship Id="rId20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11" Type="http://schemas.openxmlformats.org/officeDocument/2006/relationships/image" Target="../media/image7.png"/><Relationship Id="rId24" Type="http://schemas.openxmlformats.org/officeDocument/2006/relationships/image" Target="../media/image22.png"/><Relationship Id="rId5" Type="http://schemas.openxmlformats.org/officeDocument/2006/relationships/image" Target="../media/image1.png"/><Relationship Id="rId15" Type="http://schemas.openxmlformats.org/officeDocument/2006/relationships/image" Target="../media/image11.svg"/><Relationship Id="rId23" Type="http://schemas.openxmlformats.org/officeDocument/2006/relationships/image" Target="../media/image19.svg"/><Relationship Id="rId28" Type="http://schemas.openxmlformats.org/officeDocument/2006/relationships/image" Target="../media/image25.svg"/><Relationship Id="rId10" Type="http://schemas.openxmlformats.org/officeDocument/2006/relationships/image" Target="../media/image6.svg"/><Relationship Id="rId19" Type="http://schemas.openxmlformats.org/officeDocument/2006/relationships/image" Target="../media/image15.svg"/><Relationship Id="rId4" Type="http://schemas.openxmlformats.org/officeDocument/2006/relationships/image" Target="../media/image17.svg"/><Relationship Id="rId9" Type="http://schemas.openxmlformats.org/officeDocument/2006/relationships/image" Target="../media/image5.png"/><Relationship Id="rId14" Type="http://schemas.openxmlformats.org/officeDocument/2006/relationships/image" Target="../media/image10.png"/><Relationship Id="rId22" Type="http://schemas.openxmlformats.org/officeDocument/2006/relationships/image" Target="../media/image18.png"/><Relationship Id="rId27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21.png"/><Relationship Id="rId5" Type="http://schemas.openxmlformats.org/officeDocument/2006/relationships/image" Target="../media/image17.svg"/><Relationship Id="rId10" Type="http://schemas.openxmlformats.org/officeDocument/2006/relationships/image" Target="../media/image23.png"/><Relationship Id="rId4" Type="http://schemas.openxmlformats.org/officeDocument/2006/relationships/image" Target="../media/image16.png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.xml"/><Relationship Id="rId7" Type="http://schemas.openxmlformats.org/officeDocument/2006/relationships/image" Target="../media/image17.svg"/><Relationship Id="rId12" Type="http://schemas.openxmlformats.org/officeDocument/2006/relationships/image" Target="../media/image23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9.sv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7.xml"/><Relationship Id="rId7" Type="http://schemas.openxmlformats.org/officeDocument/2006/relationships/image" Target="../media/image17.svg"/><Relationship Id="rId12" Type="http://schemas.openxmlformats.org/officeDocument/2006/relationships/image" Target="../media/image20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6.png"/><Relationship Id="rId11" Type="http://schemas.openxmlformats.org/officeDocument/2006/relationships/image" Target="../media/image19.sv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2.png"/><Relationship Id="rId18" Type="http://schemas.openxmlformats.org/officeDocument/2006/relationships/image" Target="../media/image28.png"/><Relationship Id="rId3" Type="http://schemas.openxmlformats.org/officeDocument/2006/relationships/image" Target="../media/image16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17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3.png"/><Relationship Id="rId10" Type="http://schemas.openxmlformats.org/officeDocument/2006/relationships/image" Target="../media/image21.png"/><Relationship Id="rId4" Type="http://schemas.openxmlformats.org/officeDocument/2006/relationships/image" Target="../media/image17.svg"/><Relationship Id="rId9" Type="http://schemas.openxmlformats.org/officeDocument/2006/relationships/image" Target="../media/image20.png"/><Relationship Id="rId1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7D82F3EB-09F9-3CD6-6714-2FC173C67827}"/>
              </a:ext>
            </a:extLst>
          </p:cNvPr>
          <p:cNvSpPr/>
          <p:nvPr/>
        </p:nvSpPr>
        <p:spPr>
          <a:xfrm>
            <a:off x="6301017" y="0"/>
            <a:ext cx="5389123" cy="146887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8451D5-4FF5-E709-3033-8074E9298A3D}"/>
              </a:ext>
            </a:extLst>
          </p:cNvPr>
          <p:cNvSpPr txBox="1"/>
          <p:nvPr/>
        </p:nvSpPr>
        <p:spPr>
          <a:xfrm>
            <a:off x="6270061" y="600075"/>
            <a:ext cx="839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sets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" name="타원 3">
            <a:extLst>
              <a:ext uri="{FF2B5EF4-FFF2-40B4-BE49-F238E27FC236}">
                <a16:creationId xmlns:a16="http://schemas.microsoft.com/office/drawing/2014/main" id="{2B4C48A4-E1A8-F3F4-15EF-1C3180643384}"/>
              </a:ext>
            </a:extLst>
          </p:cNvPr>
          <p:cNvSpPr/>
          <p:nvPr/>
        </p:nvSpPr>
        <p:spPr>
          <a:xfrm>
            <a:off x="7960458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8A2680-4B8D-6ECC-50FA-653BB8640846}"/>
              </a:ext>
            </a:extLst>
          </p:cNvPr>
          <p:cNvSpPr txBox="1"/>
          <p:nvPr/>
        </p:nvSpPr>
        <p:spPr>
          <a:xfrm>
            <a:off x="7989033" y="957128"/>
            <a:ext cx="6639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6" name="타원 5">
            <a:extLst>
              <a:ext uri="{FF2B5EF4-FFF2-40B4-BE49-F238E27FC236}">
                <a16:creationId xmlns:a16="http://schemas.microsoft.com/office/drawing/2014/main" id="{EFCCC2E7-C683-7259-BFA2-B14EB2ADA88C}"/>
              </a:ext>
            </a:extLst>
          </p:cNvPr>
          <p:cNvSpPr/>
          <p:nvPr/>
        </p:nvSpPr>
        <p:spPr>
          <a:xfrm>
            <a:off x="8773496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39496D-5936-EBB5-754E-F9686251F169}"/>
              </a:ext>
            </a:extLst>
          </p:cNvPr>
          <p:cNvSpPr txBox="1"/>
          <p:nvPr/>
        </p:nvSpPr>
        <p:spPr>
          <a:xfrm>
            <a:off x="8800642" y="911694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MMONIA </a:t>
            </a:r>
            <a:b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8" name="타원 7">
            <a:extLst>
              <a:ext uri="{FF2B5EF4-FFF2-40B4-BE49-F238E27FC236}">
                <a16:creationId xmlns:a16="http://schemas.microsoft.com/office/drawing/2014/main" id="{B5A384C8-E403-8281-951E-771248C9564F}"/>
              </a:ext>
            </a:extLst>
          </p:cNvPr>
          <p:cNvSpPr/>
          <p:nvPr/>
        </p:nvSpPr>
        <p:spPr>
          <a:xfrm>
            <a:off x="9592646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9545BF-D7B8-197A-2E87-82AD6536021C}"/>
              </a:ext>
            </a:extLst>
          </p:cNvPr>
          <p:cNvSpPr txBox="1"/>
          <p:nvPr/>
        </p:nvSpPr>
        <p:spPr>
          <a:xfrm>
            <a:off x="9611696" y="957128"/>
            <a:ext cx="7024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7B828E05-333A-2E1D-724D-054287C3B876}"/>
              </a:ext>
            </a:extLst>
          </p:cNvPr>
          <p:cNvSpPr/>
          <p:nvPr/>
        </p:nvSpPr>
        <p:spPr>
          <a:xfrm>
            <a:off x="10426078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A8A46-10A5-F4B2-6D3D-0B0A0DFBA82D}"/>
              </a:ext>
            </a:extLst>
          </p:cNvPr>
          <p:cNvSpPr txBox="1"/>
          <p:nvPr/>
        </p:nvSpPr>
        <p:spPr>
          <a:xfrm>
            <a:off x="10568953" y="957128"/>
            <a:ext cx="4587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1ACB29-B94D-03C3-EEE6-7311FB719DC5}"/>
              </a:ext>
            </a:extLst>
          </p:cNvPr>
          <p:cNvSpPr txBox="1"/>
          <p:nvPr/>
        </p:nvSpPr>
        <p:spPr>
          <a:xfrm>
            <a:off x="11139728" y="815518"/>
            <a:ext cx="610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/>
              <a:t>… …  </a:t>
            </a:r>
            <a:endParaRPr lang="ko-KR" altLang="en-US" dirty="0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69562582-BAF2-4870-067A-EBB0EE08F491}"/>
              </a:ext>
            </a:extLst>
          </p:cNvPr>
          <p:cNvSpPr/>
          <p:nvPr/>
        </p:nvSpPr>
        <p:spPr>
          <a:xfrm>
            <a:off x="7991721" y="106338"/>
            <a:ext cx="3359150" cy="26670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3CFCB9D-88E5-D98B-9826-F74354D135F4}"/>
              </a:ext>
            </a:extLst>
          </p:cNvPr>
          <p:cNvSpPr/>
          <p:nvPr/>
        </p:nvSpPr>
        <p:spPr>
          <a:xfrm>
            <a:off x="9090271" y="106338"/>
            <a:ext cx="1155700" cy="26670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C8C847-DF08-4D92-4348-AB89F89BEA7B}"/>
              </a:ext>
            </a:extLst>
          </p:cNvPr>
          <p:cNvSpPr txBox="1"/>
          <p:nvPr/>
        </p:nvSpPr>
        <p:spPr>
          <a:xfrm>
            <a:off x="88504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9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3120D89-1B56-731E-BE62-371ED30AF990}"/>
              </a:ext>
            </a:extLst>
          </p:cNvPr>
          <p:cNvSpPr txBox="1"/>
          <p:nvPr/>
        </p:nvSpPr>
        <p:spPr>
          <a:xfrm>
            <a:off x="942831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0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EC5E79-4886-496E-FF1D-BC2692A32CDC}"/>
              </a:ext>
            </a:extLst>
          </p:cNvPr>
          <p:cNvSpPr txBox="1"/>
          <p:nvPr/>
        </p:nvSpPr>
        <p:spPr>
          <a:xfrm>
            <a:off x="100061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1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AA8C875-F568-7021-0BDF-482B91E6B7DA}"/>
              </a:ext>
            </a:extLst>
          </p:cNvPr>
          <p:cNvSpPr txBox="1"/>
          <p:nvPr/>
        </p:nvSpPr>
        <p:spPr>
          <a:xfrm>
            <a:off x="111110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5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C00B28-7CF1-ED7E-AC95-A45874631265}"/>
              </a:ext>
            </a:extLst>
          </p:cNvPr>
          <p:cNvSpPr txBox="1"/>
          <p:nvPr/>
        </p:nvSpPr>
        <p:spPr>
          <a:xfrm>
            <a:off x="7804203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7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C663F1F-9975-EFDA-9472-D33B317DDCD7}"/>
              </a:ext>
            </a:extLst>
          </p:cNvPr>
          <p:cNvSpPr txBox="1"/>
          <p:nvPr/>
        </p:nvSpPr>
        <p:spPr>
          <a:xfrm>
            <a:off x="7028936" y="125914"/>
            <a:ext cx="9252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imeframe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C7ED94-AF04-D0E5-1578-FF7A6973F196}"/>
              </a:ext>
            </a:extLst>
          </p:cNvPr>
          <p:cNvSpPr txBox="1"/>
          <p:nvPr/>
        </p:nvSpPr>
        <p:spPr>
          <a:xfrm>
            <a:off x="7101880" y="943570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eatures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3C3B8B13-D12E-31A7-DE32-CAC9DBDDDC82}"/>
              </a:ext>
            </a:extLst>
          </p:cNvPr>
          <p:cNvSpPr/>
          <p:nvPr/>
        </p:nvSpPr>
        <p:spPr>
          <a:xfrm>
            <a:off x="6301017" y="1677129"/>
            <a:ext cx="5389123" cy="116537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F6055AC-EC4A-A06E-4E19-B67AF6E5887E}"/>
              </a:ext>
            </a:extLst>
          </p:cNvPr>
          <p:cNvSpPr txBox="1"/>
          <p:nvPr/>
        </p:nvSpPr>
        <p:spPr>
          <a:xfrm>
            <a:off x="9304719" y="2542915"/>
            <a:ext cx="15359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Preprocess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24" name="그래픽 23" descr="데이터베이스 단색으로 채워진">
            <a:extLst>
              <a:ext uri="{FF2B5EF4-FFF2-40B4-BE49-F238E27FC236}">
                <a16:creationId xmlns:a16="http://schemas.microsoft.com/office/drawing/2014/main" id="{FDFBFBC7-0305-A54E-C461-12E437915A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7601" y="1771884"/>
            <a:ext cx="1012708" cy="722095"/>
          </a:xfrm>
          <a:prstGeom prst="rect">
            <a:avLst/>
          </a:prstGeom>
        </p:spPr>
      </p:pic>
      <p:sp>
        <p:nvSpPr>
          <p:cNvPr id="25" name="직사각형 24">
            <a:extLst>
              <a:ext uri="{FF2B5EF4-FFF2-40B4-BE49-F238E27FC236}">
                <a16:creationId xmlns:a16="http://schemas.microsoft.com/office/drawing/2014/main" id="{BF1021EA-D08F-74D7-594B-5A876023803A}"/>
              </a:ext>
            </a:extLst>
          </p:cNvPr>
          <p:cNvSpPr/>
          <p:nvPr/>
        </p:nvSpPr>
        <p:spPr>
          <a:xfrm>
            <a:off x="9754413" y="2082430"/>
            <a:ext cx="295275" cy="320221"/>
          </a:xfrm>
          <a:prstGeom prst="rect">
            <a:avLst/>
          </a:prstGeom>
          <a:solidFill>
            <a:schemeClr val="bg1"/>
          </a:solidFill>
          <a:ln w="19050">
            <a:solidFill>
              <a:srgbClr val="5B9B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6" name="그래픽 25" descr="톱니바퀴 윤곽선">
            <a:extLst>
              <a:ext uri="{FF2B5EF4-FFF2-40B4-BE49-F238E27FC236}">
                <a16:creationId xmlns:a16="http://schemas.microsoft.com/office/drawing/2014/main" id="{46301EC0-7914-6314-A8A7-2835FA921C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85763" y="2082430"/>
            <a:ext cx="430600" cy="339271"/>
          </a:xfrm>
          <a:prstGeom prst="rect">
            <a:avLst/>
          </a:prstGeom>
        </p:spPr>
      </p:pic>
      <p:pic>
        <p:nvPicPr>
          <p:cNvPr id="27" name="그래픽 26" descr="데이터베이스 단색으로 채워진">
            <a:extLst>
              <a:ext uri="{FF2B5EF4-FFF2-40B4-BE49-F238E27FC236}">
                <a16:creationId xmlns:a16="http://schemas.microsoft.com/office/drawing/2014/main" id="{B460DA07-9ACB-0B06-50FF-43BB832A9F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7284673" y="1806355"/>
            <a:ext cx="632750" cy="451173"/>
          </a:xfrm>
          <a:prstGeom prst="rect">
            <a:avLst/>
          </a:prstGeom>
        </p:spPr>
      </p:pic>
      <p:pic>
        <p:nvPicPr>
          <p:cNvPr id="28" name="그래픽 27" descr="데이터베이스 단색으로 채워진">
            <a:extLst>
              <a:ext uri="{FF2B5EF4-FFF2-40B4-BE49-F238E27FC236}">
                <a16:creationId xmlns:a16="http://schemas.microsoft.com/office/drawing/2014/main" id="{801DAF3D-585E-BEE2-B8DC-BD7C984056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7673953" y="1806355"/>
            <a:ext cx="632750" cy="451173"/>
          </a:xfrm>
          <a:prstGeom prst="rect">
            <a:avLst/>
          </a:prstGeom>
        </p:spPr>
      </p:pic>
      <p:pic>
        <p:nvPicPr>
          <p:cNvPr id="29" name="그래픽 28" descr="데이터베이스 단색으로 채워진">
            <a:extLst>
              <a:ext uri="{FF2B5EF4-FFF2-40B4-BE49-F238E27FC236}">
                <a16:creationId xmlns:a16="http://schemas.microsoft.com/office/drawing/2014/main" id="{0DB7E9AB-0591-1E3F-A159-1012B160BA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7478680" y="1997038"/>
            <a:ext cx="632750" cy="45117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0801912-26EC-8CFB-7606-D89F0C550002}"/>
              </a:ext>
            </a:extLst>
          </p:cNvPr>
          <p:cNvSpPr txBox="1"/>
          <p:nvPr/>
        </p:nvSpPr>
        <p:spPr>
          <a:xfrm>
            <a:off x="7300813" y="2542915"/>
            <a:ext cx="11544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Clean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31" name="그래픽 30" descr="가위 윤곽선">
            <a:extLst>
              <a:ext uri="{FF2B5EF4-FFF2-40B4-BE49-F238E27FC236}">
                <a16:creationId xmlns:a16="http://schemas.microsoft.com/office/drawing/2014/main" id="{413238F4-2C8A-08B2-E4D5-65FEE0BE1B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5400000">
            <a:off x="7951254" y="2161005"/>
            <a:ext cx="367980" cy="367980"/>
          </a:xfrm>
          <a:prstGeom prst="rect">
            <a:avLst/>
          </a:prstGeom>
        </p:spPr>
      </p:pic>
      <p:sp>
        <p:nvSpPr>
          <p:cNvPr id="32" name="직사각형 31">
            <a:extLst>
              <a:ext uri="{FF2B5EF4-FFF2-40B4-BE49-F238E27FC236}">
                <a16:creationId xmlns:a16="http://schemas.microsoft.com/office/drawing/2014/main" id="{30EC4B54-A769-315A-AD72-D2BEB3322408}"/>
              </a:ext>
            </a:extLst>
          </p:cNvPr>
          <p:cNvSpPr/>
          <p:nvPr/>
        </p:nvSpPr>
        <p:spPr>
          <a:xfrm>
            <a:off x="6300559" y="3041738"/>
            <a:ext cx="5389123" cy="35622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4CDBDA9E-571C-8A32-AC9B-41A22B86DE0C}"/>
              </a:ext>
            </a:extLst>
          </p:cNvPr>
          <p:cNvSpPr/>
          <p:nvPr/>
        </p:nvSpPr>
        <p:spPr>
          <a:xfrm>
            <a:off x="8230421" y="4343242"/>
            <a:ext cx="437967" cy="238125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4" name="그림 33" descr="텍스트, 도표, 지도이(가) 표시된 사진&#10;&#10;자동 생성된 설명">
            <a:extLst>
              <a:ext uri="{FF2B5EF4-FFF2-40B4-BE49-F238E27FC236}">
                <a16:creationId xmlns:a16="http://schemas.microsoft.com/office/drawing/2014/main" id="{98DF2572-2CF2-EBAC-F5F0-B19DE83FDF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496" y="3185981"/>
            <a:ext cx="2880000" cy="309913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33892C10-60B9-90AF-8269-A795234C9EB5}"/>
              </a:ext>
            </a:extLst>
          </p:cNvPr>
          <p:cNvSpPr txBox="1"/>
          <p:nvPr/>
        </p:nvSpPr>
        <p:spPr>
          <a:xfrm>
            <a:off x="9200060" y="6038750"/>
            <a:ext cx="230543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 Optimization</a:t>
            </a:r>
          </a:p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Particle Swarm Optimization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312D6F5-7039-2A69-A068-D6145A1BACA3}"/>
              </a:ext>
            </a:extLst>
          </p:cNvPr>
          <p:cNvSpPr txBox="1"/>
          <p:nvPr/>
        </p:nvSpPr>
        <p:spPr>
          <a:xfrm>
            <a:off x="9177943" y="133608"/>
            <a:ext cx="10398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Reliable Data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37" name="화살표: 아래쪽 36">
            <a:extLst>
              <a:ext uri="{FF2B5EF4-FFF2-40B4-BE49-F238E27FC236}">
                <a16:creationId xmlns:a16="http://schemas.microsoft.com/office/drawing/2014/main" id="{C4D42611-0751-F93E-6AA9-7D1AF5151B34}"/>
              </a:ext>
            </a:extLst>
          </p:cNvPr>
          <p:cNvSpPr/>
          <p:nvPr/>
        </p:nvSpPr>
        <p:spPr>
          <a:xfrm>
            <a:off x="8850462" y="1468877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화살표: 아래쪽 37">
            <a:extLst>
              <a:ext uri="{FF2B5EF4-FFF2-40B4-BE49-F238E27FC236}">
                <a16:creationId xmlns:a16="http://schemas.microsoft.com/office/drawing/2014/main" id="{596DD299-A016-DEB0-C38F-0156FBA9258A}"/>
              </a:ext>
            </a:extLst>
          </p:cNvPr>
          <p:cNvSpPr/>
          <p:nvPr/>
        </p:nvSpPr>
        <p:spPr>
          <a:xfrm>
            <a:off x="8855722" y="2858354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0" name="그래픽 39" descr="블로그 단색으로 채워진">
            <a:extLst>
              <a:ext uri="{FF2B5EF4-FFF2-40B4-BE49-F238E27FC236}">
                <a16:creationId xmlns:a16="http://schemas.microsoft.com/office/drawing/2014/main" id="{14F2C4A4-A276-3145-443F-906AE2055C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74757" y="7041998"/>
            <a:ext cx="914400" cy="914400"/>
          </a:xfrm>
          <a:prstGeom prst="rect">
            <a:avLst/>
          </a:prstGeom>
        </p:spPr>
      </p:pic>
      <p:pic>
        <p:nvPicPr>
          <p:cNvPr id="42" name="그래픽 41" descr="청사진 단색으로 채워진">
            <a:extLst>
              <a:ext uri="{FF2B5EF4-FFF2-40B4-BE49-F238E27FC236}">
                <a16:creationId xmlns:a16="http://schemas.microsoft.com/office/drawing/2014/main" id="{608EBB41-F9FD-BA92-227A-53FE4AB4D09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86998" y="5689467"/>
            <a:ext cx="914400" cy="914400"/>
          </a:xfrm>
          <a:prstGeom prst="rect">
            <a:avLst/>
          </a:prstGeom>
        </p:spPr>
      </p:pic>
      <p:pic>
        <p:nvPicPr>
          <p:cNvPr id="44" name="그래픽 43" descr="돋보기 단색으로 채워진">
            <a:extLst>
              <a:ext uri="{FF2B5EF4-FFF2-40B4-BE49-F238E27FC236}">
                <a16:creationId xmlns:a16="http://schemas.microsoft.com/office/drawing/2014/main" id="{A70B8577-1327-BA3A-97BF-2CEFBE18F6C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62296" y="6898975"/>
            <a:ext cx="914400" cy="914400"/>
          </a:xfrm>
          <a:prstGeom prst="rect">
            <a:avLst/>
          </a:prstGeom>
        </p:spPr>
      </p:pic>
      <p:pic>
        <p:nvPicPr>
          <p:cNvPr id="48" name="그래픽 47" descr="문서 단색으로 채워진">
            <a:extLst>
              <a:ext uri="{FF2B5EF4-FFF2-40B4-BE49-F238E27FC236}">
                <a16:creationId xmlns:a16="http://schemas.microsoft.com/office/drawing/2014/main" id="{672FA611-EC3D-0056-2E28-7EB141499A2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805927" y="6146667"/>
            <a:ext cx="914400" cy="914400"/>
          </a:xfrm>
          <a:prstGeom prst="rect">
            <a:avLst/>
          </a:prstGeom>
        </p:spPr>
      </p:pic>
      <p:grpSp>
        <p:nvGrpSpPr>
          <p:cNvPr id="53" name="그룹 52">
            <a:extLst>
              <a:ext uri="{FF2B5EF4-FFF2-40B4-BE49-F238E27FC236}">
                <a16:creationId xmlns:a16="http://schemas.microsoft.com/office/drawing/2014/main" id="{9B563497-08A5-8029-28CA-8A13F9B7ED10}"/>
              </a:ext>
            </a:extLst>
          </p:cNvPr>
          <p:cNvGrpSpPr/>
          <p:nvPr/>
        </p:nvGrpSpPr>
        <p:grpSpPr>
          <a:xfrm>
            <a:off x="554248" y="1440220"/>
            <a:ext cx="983348" cy="981481"/>
            <a:chOff x="361309" y="2791273"/>
            <a:chExt cx="983348" cy="981481"/>
          </a:xfrm>
        </p:grpSpPr>
        <p:pic>
          <p:nvPicPr>
            <p:cNvPr id="51" name="그래픽 50" descr="문서 윤곽선">
              <a:extLst>
                <a:ext uri="{FF2B5EF4-FFF2-40B4-BE49-F238E27FC236}">
                  <a16:creationId xmlns:a16="http://schemas.microsoft.com/office/drawing/2014/main" id="{AFE705E8-0FBF-2773-5AC8-3BA71D2BAE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61309" y="2858354"/>
              <a:ext cx="914400" cy="914400"/>
            </a:xfrm>
            <a:prstGeom prst="rect">
              <a:avLst/>
            </a:prstGeom>
          </p:spPr>
        </p:pic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45B3444E-33D4-DBD1-4AD9-F6B40086EB4E}"/>
                </a:ext>
              </a:extLst>
            </p:cNvPr>
            <p:cNvSpPr/>
            <p:nvPr/>
          </p:nvSpPr>
          <p:spPr>
            <a:xfrm>
              <a:off x="622851" y="2915479"/>
              <a:ext cx="530087" cy="7072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46" name="그래픽 45" descr="문서 윤곽선">
              <a:extLst>
                <a:ext uri="{FF2B5EF4-FFF2-40B4-BE49-F238E27FC236}">
                  <a16:creationId xmlns:a16="http://schemas.microsoft.com/office/drawing/2014/main" id="{0D00A08C-C287-EC6E-B28B-1ACE44B426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30257" y="2791273"/>
              <a:ext cx="914400" cy="914400"/>
            </a:xfrm>
            <a:prstGeom prst="rect">
              <a:avLst/>
            </a:prstGeom>
          </p:spPr>
        </p:pic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8891BDBC-3E18-0A70-E2C1-18C9D94AFB63}"/>
              </a:ext>
            </a:extLst>
          </p:cNvPr>
          <p:cNvSpPr txBox="1"/>
          <p:nvPr/>
        </p:nvSpPr>
        <p:spPr>
          <a:xfrm>
            <a:off x="473012" y="2528985"/>
            <a:ext cx="133722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ocuments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DF, Images, </a:t>
            </a:r>
            <a:r>
              <a:rPr lang="en-US" altLang="ko-KR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etc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56" name="그래픽 55" descr="문서 윤곽선">
            <a:extLst>
              <a:ext uri="{FF2B5EF4-FFF2-40B4-BE49-F238E27FC236}">
                <a16:creationId xmlns:a16="http://schemas.microsoft.com/office/drawing/2014/main" id="{73919249-AF9F-BF2C-9D26-E67CFA9E53D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346549" y="1440220"/>
            <a:ext cx="914400" cy="914400"/>
          </a:xfrm>
          <a:prstGeom prst="rect">
            <a:avLst/>
          </a:prstGeom>
        </p:spPr>
      </p:pic>
      <p:sp>
        <p:nvSpPr>
          <p:cNvPr id="57" name="직사각형 56">
            <a:extLst>
              <a:ext uri="{FF2B5EF4-FFF2-40B4-BE49-F238E27FC236}">
                <a16:creationId xmlns:a16="http://schemas.microsoft.com/office/drawing/2014/main" id="{809DDDE4-F9FF-B57B-94CC-DBEA93AA0592}"/>
              </a:ext>
            </a:extLst>
          </p:cNvPr>
          <p:cNvSpPr/>
          <p:nvPr/>
        </p:nvSpPr>
        <p:spPr>
          <a:xfrm>
            <a:off x="2826591" y="1198310"/>
            <a:ext cx="530087" cy="707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0" name="그래픽 49" descr="돋보기 윤곽선">
            <a:extLst>
              <a:ext uri="{FF2B5EF4-FFF2-40B4-BE49-F238E27FC236}">
                <a16:creationId xmlns:a16="http://schemas.microsoft.com/office/drawing/2014/main" id="{82552109-8BC1-C9B2-B739-7402EA10D6F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20664542">
            <a:off x="2726856" y="1389552"/>
            <a:ext cx="720000" cy="720000"/>
          </a:xfrm>
          <a:prstGeom prst="rect">
            <a:avLst/>
          </a:prstGeom>
        </p:spPr>
      </p:pic>
      <p:grpSp>
        <p:nvGrpSpPr>
          <p:cNvPr id="64" name="그룹 63">
            <a:extLst>
              <a:ext uri="{FF2B5EF4-FFF2-40B4-BE49-F238E27FC236}">
                <a16:creationId xmlns:a16="http://schemas.microsoft.com/office/drawing/2014/main" id="{7CE7DACE-4D8E-3C61-4300-081AD3E71BD6}"/>
              </a:ext>
            </a:extLst>
          </p:cNvPr>
          <p:cNvGrpSpPr/>
          <p:nvPr/>
        </p:nvGrpSpPr>
        <p:grpSpPr>
          <a:xfrm>
            <a:off x="4537450" y="6604000"/>
            <a:ext cx="1613090" cy="1445278"/>
            <a:chOff x="3478631" y="812250"/>
            <a:chExt cx="1613090" cy="1445278"/>
          </a:xfrm>
        </p:grpSpPr>
        <p:pic>
          <p:nvPicPr>
            <p:cNvPr id="58" name="그래픽 57" descr="문서 윤곽선">
              <a:extLst>
                <a:ext uri="{FF2B5EF4-FFF2-40B4-BE49-F238E27FC236}">
                  <a16:creationId xmlns:a16="http://schemas.microsoft.com/office/drawing/2014/main" id="{061A8F3B-13CB-D10A-D8B1-189F6842E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849780" y="1221611"/>
              <a:ext cx="914400" cy="914400"/>
            </a:xfrm>
            <a:prstGeom prst="rect">
              <a:avLst/>
            </a:prstGeom>
          </p:spPr>
        </p:pic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A89E0C32-897C-988E-C36C-68E405F2E731}"/>
                </a:ext>
              </a:extLst>
            </p:cNvPr>
            <p:cNvSpPr/>
            <p:nvPr/>
          </p:nvSpPr>
          <p:spPr>
            <a:xfrm>
              <a:off x="4026329" y="1866786"/>
              <a:ext cx="628866" cy="3907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1" name="직사각형 60">
              <a:extLst>
                <a:ext uri="{FF2B5EF4-FFF2-40B4-BE49-F238E27FC236}">
                  <a16:creationId xmlns:a16="http://schemas.microsoft.com/office/drawing/2014/main" id="{634915C8-AB61-5D06-BDAF-5C333CEE6417}"/>
                </a:ext>
              </a:extLst>
            </p:cNvPr>
            <p:cNvSpPr/>
            <p:nvPr/>
          </p:nvSpPr>
          <p:spPr>
            <a:xfrm>
              <a:off x="4462855" y="1250248"/>
              <a:ext cx="628866" cy="6678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90AED177-0567-423B-4689-67BDD9F4688B}"/>
                </a:ext>
              </a:extLst>
            </p:cNvPr>
            <p:cNvSpPr/>
            <p:nvPr/>
          </p:nvSpPr>
          <p:spPr>
            <a:xfrm>
              <a:off x="3478631" y="1432330"/>
              <a:ext cx="628866" cy="6678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FEEC2A1F-59B2-BCBF-E4F5-A44BB2E439CF}"/>
                </a:ext>
              </a:extLst>
            </p:cNvPr>
            <p:cNvSpPr/>
            <p:nvPr/>
          </p:nvSpPr>
          <p:spPr>
            <a:xfrm>
              <a:off x="3769751" y="812250"/>
              <a:ext cx="1103886" cy="752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66" name="그림 65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B03C2F88-62DE-C032-6B6F-0A19FA9B34E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2864885" y="1607207"/>
            <a:ext cx="267362" cy="198471"/>
          </a:xfrm>
          <a:prstGeom prst="rect">
            <a:avLst/>
          </a:prstGeom>
        </p:spPr>
      </p:pic>
      <p:pic>
        <p:nvPicPr>
          <p:cNvPr id="67" name="그림 66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F1F868D1-5BE5-5CAD-F96E-B659C34C4CF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43563" b="36562"/>
          <a:stretch/>
        </p:blipFill>
        <p:spPr>
          <a:xfrm>
            <a:off x="7269696" y="7307955"/>
            <a:ext cx="296562" cy="150023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C6AFC3EB-110D-7A03-ED45-6F30D93581C9}"/>
              </a:ext>
            </a:extLst>
          </p:cNvPr>
          <p:cNvSpPr txBox="1"/>
          <p:nvPr/>
        </p:nvSpPr>
        <p:spPr>
          <a:xfrm>
            <a:off x="2409876" y="2528984"/>
            <a:ext cx="124264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ext extraction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26" name="Picture 2" descr="Pdf - 무료 파일 및 폴더개 아이콘">
            <a:extLst>
              <a:ext uri="{FF2B5EF4-FFF2-40B4-BE49-F238E27FC236}">
                <a16:creationId xmlns:a16="http://schemas.microsoft.com/office/drawing/2014/main" id="{31BEEB2D-6080-B5F5-4F37-5E27D3AF1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114" y="3653473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517A8AFC-952B-5E9A-8346-8B14F07F61E1}"/>
              </a:ext>
            </a:extLst>
          </p:cNvPr>
          <p:cNvSpPr txBox="1"/>
          <p:nvPr/>
        </p:nvSpPr>
        <p:spPr>
          <a:xfrm>
            <a:off x="620064" y="4561259"/>
            <a:ext cx="7360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설계 도면</a:t>
            </a:r>
          </a:p>
        </p:txBody>
      </p:sp>
      <p:pic>
        <p:nvPicPr>
          <p:cNvPr id="70" name="그래픽 69" descr="문서 윤곽선">
            <a:extLst>
              <a:ext uri="{FF2B5EF4-FFF2-40B4-BE49-F238E27FC236}">
                <a16:creationId xmlns:a16="http://schemas.microsoft.com/office/drawing/2014/main" id="{63759C22-5E5E-81CB-9704-880B0ADF45F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112504" y="3563178"/>
            <a:ext cx="914400" cy="914400"/>
          </a:xfrm>
          <a:prstGeom prst="rect">
            <a:avLst/>
          </a:prstGeom>
        </p:spPr>
      </p:pic>
      <p:pic>
        <p:nvPicPr>
          <p:cNvPr id="71" name="그래픽 70" descr="돋보기 윤곽선">
            <a:extLst>
              <a:ext uri="{FF2B5EF4-FFF2-40B4-BE49-F238E27FC236}">
                <a16:creationId xmlns:a16="http://schemas.microsoft.com/office/drawing/2014/main" id="{DE0A0379-F402-8767-31D3-C10407E2A71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20664542">
            <a:off x="2492811" y="3512510"/>
            <a:ext cx="720000" cy="720000"/>
          </a:xfrm>
          <a:prstGeom prst="rect">
            <a:avLst/>
          </a:prstGeom>
        </p:spPr>
      </p:pic>
      <p:pic>
        <p:nvPicPr>
          <p:cNvPr id="72" name="그림 71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E51E8A7A-8BC1-F2E9-B322-3B4B87ECFAB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2630840" y="3730165"/>
            <a:ext cx="267362" cy="19847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D4657EB4-2102-81A6-8190-187A4C42DEB7}"/>
              </a:ext>
            </a:extLst>
          </p:cNvPr>
          <p:cNvSpPr txBox="1"/>
          <p:nvPr/>
        </p:nvSpPr>
        <p:spPr>
          <a:xfrm>
            <a:off x="2210373" y="4488441"/>
            <a:ext cx="8659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추출</a:t>
            </a:r>
          </a:p>
        </p:txBody>
      </p:sp>
      <p:grpSp>
        <p:nvGrpSpPr>
          <p:cNvPr id="74" name="그룹 73">
            <a:extLst>
              <a:ext uri="{FF2B5EF4-FFF2-40B4-BE49-F238E27FC236}">
                <a16:creationId xmlns:a16="http://schemas.microsoft.com/office/drawing/2014/main" id="{B4FB3026-045D-5546-9566-466BBC80807A}"/>
              </a:ext>
            </a:extLst>
          </p:cNvPr>
          <p:cNvGrpSpPr/>
          <p:nvPr/>
        </p:nvGrpSpPr>
        <p:grpSpPr>
          <a:xfrm>
            <a:off x="4454728" y="1410793"/>
            <a:ext cx="983348" cy="981481"/>
            <a:chOff x="361309" y="2791273"/>
            <a:chExt cx="983348" cy="981481"/>
          </a:xfrm>
        </p:grpSpPr>
        <p:pic>
          <p:nvPicPr>
            <p:cNvPr id="75" name="그래픽 74" descr="문서 윤곽선">
              <a:extLst>
                <a:ext uri="{FF2B5EF4-FFF2-40B4-BE49-F238E27FC236}">
                  <a16:creationId xmlns:a16="http://schemas.microsoft.com/office/drawing/2014/main" id="{137A4955-99CB-65B8-1927-8D589FD300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61309" y="2858354"/>
              <a:ext cx="914400" cy="914400"/>
            </a:xfrm>
            <a:prstGeom prst="rect">
              <a:avLst/>
            </a:prstGeom>
          </p:spPr>
        </p:pic>
        <p:sp>
          <p:nvSpPr>
            <p:cNvPr id="76" name="직사각형 75">
              <a:extLst>
                <a:ext uri="{FF2B5EF4-FFF2-40B4-BE49-F238E27FC236}">
                  <a16:creationId xmlns:a16="http://schemas.microsoft.com/office/drawing/2014/main" id="{1063BD11-FF37-6E25-382D-9E2B641529BE}"/>
                </a:ext>
              </a:extLst>
            </p:cNvPr>
            <p:cNvSpPr/>
            <p:nvPr/>
          </p:nvSpPr>
          <p:spPr>
            <a:xfrm>
              <a:off x="622851" y="2915479"/>
              <a:ext cx="530087" cy="7072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77" name="그래픽 76" descr="문서 윤곽선">
              <a:extLst>
                <a:ext uri="{FF2B5EF4-FFF2-40B4-BE49-F238E27FC236}">
                  <a16:creationId xmlns:a16="http://schemas.microsoft.com/office/drawing/2014/main" id="{89B258CD-6D65-78B6-87FC-A357615757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30257" y="2791273"/>
              <a:ext cx="914400" cy="914400"/>
            </a:xfrm>
            <a:prstGeom prst="rect">
              <a:avLst/>
            </a:prstGeom>
          </p:spPr>
        </p:pic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30823D84-615E-0FF0-5FF5-182BBA311BBE}"/>
              </a:ext>
            </a:extLst>
          </p:cNvPr>
          <p:cNvSpPr txBox="1"/>
          <p:nvPr/>
        </p:nvSpPr>
        <p:spPr>
          <a:xfrm>
            <a:off x="3896385" y="4515519"/>
            <a:ext cx="14798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매칭 및 정리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arameter, IO List 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28" name="Picture 4" descr="작업 영역 지원 컬렉션에서 Excel 아이콘 벡터입니다 얇은 라인 엑셀 개요 아이콘 벡터 일러스트 레이 션입니다 웹 사이트 디자인 및  모바일 앱 개발을 위한 개요 얇은 라인 엑셀 아이콘 아이콘에 대한 스톡">
            <a:extLst>
              <a:ext uri="{FF2B5EF4-FFF2-40B4-BE49-F238E27FC236}">
                <a16:creationId xmlns:a16="http://schemas.microsoft.com/office/drawing/2014/main" id="{15BAD69C-6AD7-B1C7-1A36-E52E10DFD1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899" t="16199" r="27284" b="34688"/>
          <a:stretch/>
        </p:blipFill>
        <p:spPr bwMode="auto">
          <a:xfrm>
            <a:off x="1860491" y="6615663"/>
            <a:ext cx="917622" cy="105253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XLS 문서 다운로드 아이콘 벡터 템플릿 | 프리미엄 벡터">
            <a:extLst>
              <a:ext uri="{FF2B5EF4-FFF2-40B4-BE49-F238E27FC236}">
                <a16:creationId xmlns:a16="http://schemas.microsoft.com/office/drawing/2014/main" id="{171FD25A-A878-1A6F-04C3-E79CB7AFD2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4" t="24305" r="23612" b="23519"/>
          <a:stretch/>
        </p:blipFill>
        <p:spPr bwMode="auto">
          <a:xfrm>
            <a:off x="3970440" y="3566298"/>
            <a:ext cx="828000" cy="84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0455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4C3EA7D4-1F26-8FD1-FCA8-15BA91B7B7E0}"/>
              </a:ext>
            </a:extLst>
          </p:cNvPr>
          <p:cNvSpPr/>
          <p:nvPr/>
        </p:nvSpPr>
        <p:spPr>
          <a:xfrm>
            <a:off x="2107418" y="5359350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A5260DBE-15D9-38EB-0677-B8BD85613C8E}"/>
              </a:ext>
            </a:extLst>
          </p:cNvPr>
          <p:cNvSpPr/>
          <p:nvPr/>
        </p:nvSpPr>
        <p:spPr>
          <a:xfrm>
            <a:off x="4715827" y="2854436"/>
            <a:ext cx="2132269" cy="104756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F01C892D-87B8-F7C9-C5D7-DC6E74BCB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4250" y="1106010"/>
            <a:ext cx="819264" cy="7811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49B05C5-78F3-6DFF-C048-5ECDF77DF2D7}"/>
              </a:ext>
            </a:extLst>
          </p:cNvPr>
          <p:cNvSpPr txBox="1"/>
          <p:nvPr/>
        </p:nvSpPr>
        <p:spPr>
          <a:xfrm>
            <a:off x="858146" y="1877027"/>
            <a:ext cx="228306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Prediction Model</a:t>
            </a:r>
          </a:p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Artificial Neural Network)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4" name="그림 13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375205A2-2B50-D2A1-7EDA-7BD3E0358C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4564657" y="1297698"/>
            <a:ext cx="2160000" cy="1092161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EE77085-6559-A77C-D788-7F76DD87BF7E}"/>
              </a:ext>
            </a:extLst>
          </p:cNvPr>
          <p:cNvSpPr/>
          <p:nvPr/>
        </p:nvSpPr>
        <p:spPr>
          <a:xfrm>
            <a:off x="713793" y="931181"/>
            <a:ext cx="6480000" cy="339373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6" name="화살표: 오른쪽 15">
            <a:extLst>
              <a:ext uri="{FF2B5EF4-FFF2-40B4-BE49-F238E27FC236}">
                <a16:creationId xmlns:a16="http://schemas.microsoft.com/office/drawing/2014/main" id="{E437853C-354D-F9AA-C993-2F6AD6CB9D01}"/>
              </a:ext>
            </a:extLst>
          </p:cNvPr>
          <p:cNvSpPr/>
          <p:nvPr/>
        </p:nvSpPr>
        <p:spPr>
          <a:xfrm>
            <a:off x="3154218" y="1694486"/>
            <a:ext cx="763467" cy="196538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27172D-BC58-B7F9-005C-A16E59B65DC9}"/>
              </a:ext>
            </a:extLst>
          </p:cNvPr>
          <p:cNvSpPr txBox="1"/>
          <p:nvPr/>
        </p:nvSpPr>
        <p:spPr>
          <a:xfrm>
            <a:off x="3878315" y="1081937"/>
            <a:ext cx="771365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</a:t>
            </a:r>
          </a:p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7A783-E4F4-30C6-5F4B-51765D7B0DD0}"/>
              </a:ext>
            </a:extLst>
          </p:cNvPr>
          <p:cNvSpPr txBox="1"/>
          <p:nvPr/>
        </p:nvSpPr>
        <p:spPr>
          <a:xfrm>
            <a:off x="6637960" y="2120926"/>
            <a:ext cx="550151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ime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2199A3-3684-2315-811E-F2D7FD46F247}"/>
              </a:ext>
            </a:extLst>
          </p:cNvPr>
          <p:cNvSpPr txBox="1"/>
          <p:nvPr/>
        </p:nvSpPr>
        <p:spPr>
          <a:xfrm>
            <a:off x="4789317" y="1188893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5E3F6A-66EC-8F32-C7CE-9CD73743BF9C}"/>
              </a:ext>
            </a:extLst>
          </p:cNvPr>
          <p:cNvSpPr txBox="1"/>
          <p:nvPr/>
        </p:nvSpPr>
        <p:spPr>
          <a:xfrm>
            <a:off x="4774890" y="2039332"/>
            <a:ext cx="12378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AC2ABEA3-4B84-B657-FB16-D0F212BAAA27}"/>
              </a:ext>
            </a:extLst>
          </p:cNvPr>
          <p:cNvSpPr/>
          <p:nvPr/>
        </p:nvSpPr>
        <p:spPr>
          <a:xfrm>
            <a:off x="713792" y="4411560"/>
            <a:ext cx="6480000" cy="43598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BBAAAA9-B0B5-6DDE-BCCC-CBEB5FFAA338}"/>
              </a:ext>
            </a:extLst>
          </p:cNvPr>
          <p:cNvSpPr txBox="1"/>
          <p:nvPr/>
        </p:nvSpPr>
        <p:spPr>
          <a:xfrm>
            <a:off x="2087521" y="526108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A986F3-77EE-CB9B-F1E8-C8347FAEF75C}"/>
              </a:ext>
            </a:extLst>
          </p:cNvPr>
          <p:cNvSpPr txBox="1"/>
          <p:nvPr/>
        </p:nvSpPr>
        <p:spPr>
          <a:xfrm>
            <a:off x="5287076" y="3078786"/>
            <a:ext cx="960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  pp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F65B9FD-1F41-5C68-F32C-646C9554A29D}"/>
              </a:ext>
            </a:extLst>
          </p:cNvPr>
          <p:cNvSpPr txBox="1"/>
          <p:nvPr/>
        </p:nvSpPr>
        <p:spPr>
          <a:xfrm>
            <a:off x="2073952" y="3248437"/>
            <a:ext cx="9189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7E8648-CF47-2248-494C-6FA4D674CF6F}"/>
              </a:ext>
            </a:extLst>
          </p:cNvPr>
          <p:cNvSpPr txBox="1"/>
          <p:nvPr/>
        </p:nvSpPr>
        <p:spPr>
          <a:xfrm>
            <a:off x="5275854" y="3482509"/>
            <a:ext cx="9829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2 pp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C4F1C8-F688-FE90-BD55-AE80A5E3C42E}"/>
              </a:ext>
            </a:extLst>
          </p:cNvPr>
          <p:cNvSpPr txBox="1"/>
          <p:nvPr/>
        </p:nvSpPr>
        <p:spPr>
          <a:xfrm>
            <a:off x="1131965" y="2933634"/>
            <a:ext cx="864340" cy="10307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7CA9EC2B-4C1D-2D92-123A-DC854443E741}"/>
              </a:ext>
            </a:extLst>
          </p:cNvPr>
          <p:cNvSpPr/>
          <p:nvPr/>
        </p:nvSpPr>
        <p:spPr>
          <a:xfrm>
            <a:off x="1020095" y="2857434"/>
            <a:ext cx="2044633" cy="11151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BA966E-7990-3A4D-17F8-F7F2C063398E}"/>
              </a:ext>
            </a:extLst>
          </p:cNvPr>
          <p:cNvSpPr txBox="1"/>
          <p:nvPr/>
        </p:nvSpPr>
        <p:spPr>
          <a:xfrm>
            <a:off x="1571490" y="2654684"/>
            <a:ext cx="704039" cy="36067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3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3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1" name="화살표: 오른쪽 30">
            <a:extLst>
              <a:ext uri="{FF2B5EF4-FFF2-40B4-BE49-F238E27FC236}">
                <a16:creationId xmlns:a16="http://schemas.microsoft.com/office/drawing/2014/main" id="{ED8883CB-97A9-0C79-A269-EFF2BA16B25B}"/>
              </a:ext>
            </a:extLst>
          </p:cNvPr>
          <p:cNvSpPr/>
          <p:nvPr/>
        </p:nvSpPr>
        <p:spPr>
          <a:xfrm>
            <a:off x="3147513" y="3117530"/>
            <a:ext cx="1924239" cy="129704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FCAF1E-6459-F789-C330-46A0D8BAB403}"/>
              </a:ext>
            </a:extLst>
          </p:cNvPr>
          <p:cNvSpPr txBox="1"/>
          <p:nvPr/>
        </p:nvSpPr>
        <p:spPr>
          <a:xfrm>
            <a:off x="5231121" y="2625656"/>
            <a:ext cx="1146724" cy="3400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DD63FB88-DF58-A3B7-F226-9FDD0300E644}"/>
              </a:ext>
            </a:extLst>
          </p:cNvPr>
          <p:cNvSpPr/>
          <p:nvPr/>
        </p:nvSpPr>
        <p:spPr>
          <a:xfrm>
            <a:off x="3147513" y="3508753"/>
            <a:ext cx="1924239" cy="140606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C626E62C-466A-23C9-D62C-D66A0A259D90}"/>
              </a:ext>
            </a:extLst>
          </p:cNvPr>
          <p:cNvSpPr/>
          <p:nvPr/>
        </p:nvSpPr>
        <p:spPr>
          <a:xfrm>
            <a:off x="3768706" y="3306820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56793D1F-E35C-B171-397E-D66E51E6B6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5050" y="3374955"/>
            <a:ext cx="396000" cy="37758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5C57DD5E-E4BC-4966-B434-3186CF3B996D}"/>
              </a:ext>
            </a:extLst>
          </p:cNvPr>
          <p:cNvSpPr txBox="1"/>
          <p:nvPr/>
        </p:nvSpPr>
        <p:spPr>
          <a:xfrm>
            <a:off x="3462880" y="2938926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B857D07-286C-10C7-FAD8-5CD35586F441}"/>
              </a:ext>
            </a:extLst>
          </p:cNvPr>
          <p:cNvSpPr txBox="1"/>
          <p:nvPr/>
        </p:nvSpPr>
        <p:spPr>
          <a:xfrm>
            <a:off x="3330225" y="3751037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FC52B90-F2D9-CB8A-AAAD-BEB9FB78034F}"/>
              </a:ext>
            </a:extLst>
          </p:cNvPr>
          <p:cNvSpPr txBox="1"/>
          <p:nvPr/>
        </p:nvSpPr>
        <p:spPr>
          <a:xfrm>
            <a:off x="4875724" y="3871502"/>
            <a:ext cx="1961050" cy="3400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예측 신뢰도 </a:t>
            </a: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90% 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상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CB868FF-E0D5-9BE9-7A94-E5447147C520}"/>
              </a:ext>
            </a:extLst>
          </p:cNvPr>
          <p:cNvSpPr txBox="1"/>
          <p:nvPr/>
        </p:nvSpPr>
        <p:spPr>
          <a:xfrm>
            <a:off x="1153845" y="4926362"/>
            <a:ext cx="864340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/>
            <a:endParaRPr lang="en-US" altLang="ko-KR" sz="105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7747DBE0-D758-AAEA-9469-B3F3DA4EAF38}"/>
              </a:ext>
            </a:extLst>
          </p:cNvPr>
          <p:cNvSpPr/>
          <p:nvPr/>
        </p:nvSpPr>
        <p:spPr>
          <a:xfrm>
            <a:off x="1029276" y="4524554"/>
            <a:ext cx="2088536" cy="209532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97E210-B853-555A-0587-F833EAF547B0}"/>
              </a:ext>
            </a:extLst>
          </p:cNvPr>
          <p:cNvSpPr txBox="1"/>
          <p:nvPr/>
        </p:nvSpPr>
        <p:spPr>
          <a:xfrm>
            <a:off x="1472906" y="4456914"/>
            <a:ext cx="665567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44CBF5F-7651-1C74-8EAC-3A9A9B38B084}"/>
              </a:ext>
            </a:extLst>
          </p:cNvPr>
          <p:cNvSpPr txBox="1"/>
          <p:nvPr/>
        </p:nvSpPr>
        <p:spPr>
          <a:xfrm>
            <a:off x="2146454" y="5517093"/>
            <a:ext cx="72327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5%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BF8FD95-6C8E-07A5-2EF2-E26478FB8FFF}"/>
              </a:ext>
            </a:extLst>
          </p:cNvPr>
          <p:cNvSpPr txBox="1"/>
          <p:nvPr/>
        </p:nvSpPr>
        <p:spPr>
          <a:xfrm>
            <a:off x="2138440" y="5801661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4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CA11A33-E314-ECE7-DCE1-80F4CC6BFA28}"/>
              </a:ext>
            </a:extLst>
          </p:cNvPr>
          <p:cNvSpPr txBox="1"/>
          <p:nvPr/>
        </p:nvSpPr>
        <p:spPr>
          <a:xfrm>
            <a:off x="2138440" y="6075348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6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39DD170-0E15-BF09-9EB9-25358240F0AC}"/>
              </a:ext>
            </a:extLst>
          </p:cNvPr>
          <p:cNvSpPr txBox="1"/>
          <p:nvPr/>
        </p:nvSpPr>
        <p:spPr>
          <a:xfrm>
            <a:off x="2392559" y="6319881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BAC5721-9ACE-0601-0C19-FC46E5BBD8E2}"/>
              </a:ext>
            </a:extLst>
          </p:cNvPr>
          <p:cNvSpPr txBox="1"/>
          <p:nvPr/>
        </p:nvSpPr>
        <p:spPr>
          <a:xfrm>
            <a:off x="2145653" y="4892594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80C6F4E7-1995-6AE0-CACF-2794B7EBF7CD}"/>
              </a:ext>
            </a:extLst>
          </p:cNvPr>
          <p:cNvSpPr/>
          <p:nvPr/>
        </p:nvSpPr>
        <p:spPr>
          <a:xfrm>
            <a:off x="2109492" y="4743511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F14615C-F6BC-9525-8D45-89F2CC94CDCA}"/>
              </a:ext>
            </a:extLst>
          </p:cNvPr>
          <p:cNvSpPr txBox="1"/>
          <p:nvPr/>
        </p:nvSpPr>
        <p:spPr>
          <a:xfrm>
            <a:off x="2120504" y="4675224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70B9AC9D-639A-0DBB-9E1A-B9EF8D3AE26B}"/>
              </a:ext>
            </a:extLst>
          </p:cNvPr>
          <p:cNvSpPr/>
          <p:nvPr/>
        </p:nvSpPr>
        <p:spPr>
          <a:xfrm>
            <a:off x="3693151" y="5157356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55" name="TextBox 2054">
            <a:extLst>
              <a:ext uri="{FF2B5EF4-FFF2-40B4-BE49-F238E27FC236}">
                <a16:creationId xmlns:a16="http://schemas.microsoft.com/office/drawing/2014/main" id="{EBAE0E65-F9BA-9D5B-9B0F-5B1EE13AEA1C}"/>
              </a:ext>
            </a:extLst>
          </p:cNvPr>
          <p:cNvSpPr txBox="1"/>
          <p:nvPr/>
        </p:nvSpPr>
        <p:spPr>
          <a:xfrm>
            <a:off x="3552429" y="4745920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2056" name="TextBox 2055">
            <a:extLst>
              <a:ext uri="{FF2B5EF4-FFF2-40B4-BE49-F238E27FC236}">
                <a16:creationId xmlns:a16="http://schemas.microsoft.com/office/drawing/2014/main" id="{CE489C6C-B308-415D-1759-183EA48EE9E3}"/>
              </a:ext>
            </a:extLst>
          </p:cNvPr>
          <p:cNvSpPr txBox="1"/>
          <p:nvPr/>
        </p:nvSpPr>
        <p:spPr>
          <a:xfrm>
            <a:off x="3407074" y="6107759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2058" name="사각형: 둥근 모서리 2057">
            <a:extLst>
              <a:ext uri="{FF2B5EF4-FFF2-40B4-BE49-F238E27FC236}">
                <a16:creationId xmlns:a16="http://schemas.microsoft.com/office/drawing/2014/main" id="{80BF0AA0-AA46-5BF0-7887-C89217255179}"/>
              </a:ext>
            </a:extLst>
          </p:cNvPr>
          <p:cNvSpPr/>
          <p:nvPr/>
        </p:nvSpPr>
        <p:spPr>
          <a:xfrm>
            <a:off x="4754052" y="4546196"/>
            <a:ext cx="2123072" cy="20736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68" name="TextBox 2067">
            <a:extLst>
              <a:ext uri="{FF2B5EF4-FFF2-40B4-BE49-F238E27FC236}">
                <a16:creationId xmlns:a16="http://schemas.microsoft.com/office/drawing/2014/main" id="{68DB1380-016E-91A9-6E1A-6211044EBDA7}"/>
              </a:ext>
            </a:extLst>
          </p:cNvPr>
          <p:cNvSpPr txBox="1"/>
          <p:nvPr/>
        </p:nvSpPr>
        <p:spPr>
          <a:xfrm>
            <a:off x="5248280" y="4451983"/>
            <a:ext cx="1146724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69" name="화살표: 오른쪽 2068">
            <a:extLst>
              <a:ext uri="{FF2B5EF4-FFF2-40B4-BE49-F238E27FC236}">
                <a16:creationId xmlns:a16="http://schemas.microsoft.com/office/drawing/2014/main" id="{875D10F6-5D50-67A2-E9DC-B28DFC66F9EA}"/>
              </a:ext>
            </a:extLst>
          </p:cNvPr>
          <p:cNvSpPr/>
          <p:nvPr/>
        </p:nvSpPr>
        <p:spPr>
          <a:xfrm>
            <a:off x="3216865" y="4924523"/>
            <a:ext cx="1843412" cy="194364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70" name="화살표: 오른쪽 2069">
            <a:extLst>
              <a:ext uri="{FF2B5EF4-FFF2-40B4-BE49-F238E27FC236}">
                <a16:creationId xmlns:a16="http://schemas.microsoft.com/office/drawing/2014/main" id="{BE10BA9B-70AB-0397-7CA4-55502943B279}"/>
              </a:ext>
            </a:extLst>
          </p:cNvPr>
          <p:cNvSpPr/>
          <p:nvPr/>
        </p:nvSpPr>
        <p:spPr>
          <a:xfrm>
            <a:off x="3247713" y="5865474"/>
            <a:ext cx="1847418" cy="194363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2077" name="그림 2076">
            <a:extLst>
              <a:ext uri="{FF2B5EF4-FFF2-40B4-BE49-F238E27FC236}">
                <a16:creationId xmlns:a16="http://schemas.microsoft.com/office/drawing/2014/main" id="{52AB760C-3778-0D72-C001-24CA5D006A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1899" y="5731677"/>
            <a:ext cx="396000" cy="377582"/>
          </a:xfrm>
          <a:prstGeom prst="rect">
            <a:avLst/>
          </a:prstGeom>
        </p:spPr>
      </p:pic>
      <p:sp>
        <p:nvSpPr>
          <p:cNvPr id="2078" name="TextBox 2077">
            <a:extLst>
              <a:ext uri="{FF2B5EF4-FFF2-40B4-BE49-F238E27FC236}">
                <a16:creationId xmlns:a16="http://schemas.microsoft.com/office/drawing/2014/main" id="{68F8BEBC-A7C2-5D87-9AC9-11BAD4DA21AC}"/>
              </a:ext>
            </a:extLst>
          </p:cNvPr>
          <p:cNvSpPr txBox="1"/>
          <p:nvPr/>
        </p:nvSpPr>
        <p:spPr>
          <a:xfrm>
            <a:off x="5458965" y="4935806"/>
            <a:ext cx="705642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ppm</a:t>
            </a:r>
          </a:p>
        </p:txBody>
      </p:sp>
      <p:sp>
        <p:nvSpPr>
          <p:cNvPr id="2079" name="사각형: 둥근 모서리 2078">
            <a:extLst>
              <a:ext uri="{FF2B5EF4-FFF2-40B4-BE49-F238E27FC236}">
                <a16:creationId xmlns:a16="http://schemas.microsoft.com/office/drawing/2014/main" id="{F318A269-8353-D692-B6F5-CBC1A94F9C99}"/>
              </a:ext>
            </a:extLst>
          </p:cNvPr>
          <p:cNvSpPr/>
          <p:nvPr/>
        </p:nvSpPr>
        <p:spPr>
          <a:xfrm>
            <a:off x="5405973" y="4786723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0" name="TextBox 2079">
            <a:extLst>
              <a:ext uri="{FF2B5EF4-FFF2-40B4-BE49-F238E27FC236}">
                <a16:creationId xmlns:a16="http://schemas.microsoft.com/office/drawing/2014/main" id="{E8853092-FAE5-086D-FE39-26D348B282DB}"/>
              </a:ext>
            </a:extLst>
          </p:cNvPr>
          <p:cNvSpPr txBox="1"/>
          <p:nvPr/>
        </p:nvSpPr>
        <p:spPr>
          <a:xfrm>
            <a:off x="5416985" y="4718436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1" name="사각형: 둥근 모서리 2080">
            <a:extLst>
              <a:ext uri="{FF2B5EF4-FFF2-40B4-BE49-F238E27FC236}">
                <a16:creationId xmlns:a16="http://schemas.microsoft.com/office/drawing/2014/main" id="{259931F4-1A1D-62C4-4502-05373EEF8320}"/>
              </a:ext>
            </a:extLst>
          </p:cNvPr>
          <p:cNvSpPr/>
          <p:nvPr/>
        </p:nvSpPr>
        <p:spPr>
          <a:xfrm>
            <a:off x="5419711" y="5358294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2" name="TextBox 2081">
            <a:extLst>
              <a:ext uri="{FF2B5EF4-FFF2-40B4-BE49-F238E27FC236}">
                <a16:creationId xmlns:a16="http://schemas.microsoft.com/office/drawing/2014/main" id="{BE993214-2390-6D83-8CF3-4D5BCB28C143}"/>
              </a:ext>
            </a:extLst>
          </p:cNvPr>
          <p:cNvSpPr txBox="1"/>
          <p:nvPr/>
        </p:nvSpPr>
        <p:spPr>
          <a:xfrm>
            <a:off x="5399814" y="528361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9384F36F-805C-CADE-E9C9-7FEB5FC14D80}"/>
              </a:ext>
            </a:extLst>
          </p:cNvPr>
          <p:cNvSpPr txBox="1"/>
          <p:nvPr/>
        </p:nvSpPr>
        <p:spPr>
          <a:xfrm>
            <a:off x="5441919" y="5541437"/>
            <a:ext cx="756938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2    ppm</a:t>
            </a:r>
          </a:p>
        </p:txBody>
      </p:sp>
      <p:sp>
        <p:nvSpPr>
          <p:cNvPr id="2085" name="TextBox 2084">
            <a:extLst>
              <a:ext uri="{FF2B5EF4-FFF2-40B4-BE49-F238E27FC236}">
                <a16:creationId xmlns:a16="http://schemas.microsoft.com/office/drawing/2014/main" id="{92B42908-1D95-8037-56DB-F36E7C9CF98D}"/>
              </a:ext>
            </a:extLst>
          </p:cNvPr>
          <p:cNvSpPr txBox="1"/>
          <p:nvPr/>
        </p:nvSpPr>
        <p:spPr>
          <a:xfrm>
            <a:off x="5449931" y="5826005"/>
            <a:ext cx="740908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      ppm</a:t>
            </a:r>
          </a:p>
        </p:txBody>
      </p:sp>
      <p:sp>
        <p:nvSpPr>
          <p:cNvPr id="2087" name="TextBox 2086">
            <a:extLst>
              <a:ext uri="{FF2B5EF4-FFF2-40B4-BE49-F238E27FC236}">
                <a16:creationId xmlns:a16="http://schemas.microsoft.com/office/drawing/2014/main" id="{AF26B4B8-2D02-766F-EF59-4E669C9C499C}"/>
              </a:ext>
            </a:extLst>
          </p:cNvPr>
          <p:cNvSpPr txBox="1"/>
          <p:nvPr/>
        </p:nvSpPr>
        <p:spPr>
          <a:xfrm>
            <a:off x="5443607" y="6114206"/>
            <a:ext cx="782587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8 ppm</a:t>
            </a:r>
          </a:p>
        </p:txBody>
      </p:sp>
      <p:sp>
        <p:nvSpPr>
          <p:cNvPr id="2088" name="TextBox 2087">
            <a:extLst>
              <a:ext uri="{FF2B5EF4-FFF2-40B4-BE49-F238E27FC236}">
                <a16:creationId xmlns:a16="http://schemas.microsoft.com/office/drawing/2014/main" id="{C80EFE52-43DE-CD26-8684-4D5C55B34CF3}"/>
              </a:ext>
            </a:extLst>
          </p:cNvPr>
          <p:cNvSpPr txBox="1"/>
          <p:nvPr/>
        </p:nvSpPr>
        <p:spPr>
          <a:xfrm>
            <a:off x="5704852" y="6344225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102" name="TextBox 2101">
            <a:extLst>
              <a:ext uri="{FF2B5EF4-FFF2-40B4-BE49-F238E27FC236}">
                <a16:creationId xmlns:a16="http://schemas.microsoft.com/office/drawing/2014/main" id="{8D98087B-9982-2407-A4E3-03B8B36F3137}"/>
              </a:ext>
            </a:extLst>
          </p:cNvPr>
          <p:cNvSpPr txBox="1"/>
          <p:nvPr/>
        </p:nvSpPr>
        <p:spPr>
          <a:xfrm>
            <a:off x="3736166" y="5481065"/>
            <a:ext cx="598241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Model</a:t>
            </a:r>
            <a:endParaRPr lang="ko-KR" altLang="en-US" sz="1100" dirty="0">
              <a:solidFill>
                <a:srgbClr val="4472C4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03" name="TextBox 2102">
            <a:extLst>
              <a:ext uri="{FF2B5EF4-FFF2-40B4-BE49-F238E27FC236}">
                <a16:creationId xmlns:a16="http://schemas.microsoft.com/office/drawing/2014/main" id="{83F70DFE-1C2F-8A83-BA43-6218C9EF9904}"/>
              </a:ext>
            </a:extLst>
          </p:cNvPr>
          <p:cNvSpPr txBox="1"/>
          <p:nvPr/>
        </p:nvSpPr>
        <p:spPr>
          <a:xfrm>
            <a:off x="969884" y="6663680"/>
            <a:ext cx="5798383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최적화 과정을 통해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배출량 환경 기준을 만족하면서 </a:t>
            </a:r>
            <a:r>
              <a:rPr lang="ko-KR" altLang="en-US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소비량을 감소시키는 </a:t>
            </a:r>
            <a:r>
              <a:rPr lang="en-US" altLang="ko-KR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도출</a:t>
            </a:r>
          </a:p>
        </p:txBody>
      </p:sp>
      <p:sp>
        <p:nvSpPr>
          <p:cNvPr id="2107" name="직사각형 2106">
            <a:extLst>
              <a:ext uri="{FF2B5EF4-FFF2-40B4-BE49-F238E27FC236}">
                <a16:creationId xmlns:a16="http://schemas.microsoft.com/office/drawing/2014/main" id="{77140D0F-99F0-3A2B-8E99-00782099BF5D}"/>
              </a:ext>
            </a:extLst>
          </p:cNvPr>
          <p:cNvSpPr/>
          <p:nvPr/>
        </p:nvSpPr>
        <p:spPr>
          <a:xfrm>
            <a:off x="1911057" y="7150127"/>
            <a:ext cx="4198171" cy="134944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sp>
        <p:nvSpPr>
          <p:cNvPr id="2108" name="TextBox 2107">
            <a:extLst>
              <a:ext uri="{FF2B5EF4-FFF2-40B4-BE49-F238E27FC236}">
                <a16:creationId xmlns:a16="http://schemas.microsoft.com/office/drawing/2014/main" id="{63530DEC-30C1-99EA-490E-54CB94ACD3C1}"/>
              </a:ext>
            </a:extLst>
          </p:cNvPr>
          <p:cNvSpPr txBox="1"/>
          <p:nvPr/>
        </p:nvSpPr>
        <p:spPr>
          <a:xfrm>
            <a:off x="3233349" y="8510547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4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2" name="TextBox 2111">
            <a:extLst>
              <a:ext uri="{FF2B5EF4-FFF2-40B4-BE49-F238E27FC236}">
                <a16:creationId xmlns:a16="http://schemas.microsoft.com/office/drawing/2014/main" id="{67D0A2EF-A143-D21B-36B5-930A176B605C}"/>
              </a:ext>
            </a:extLst>
          </p:cNvPr>
          <p:cNvSpPr txBox="1"/>
          <p:nvPr/>
        </p:nvSpPr>
        <p:spPr>
          <a:xfrm>
            <a:off x="6112857" y="8378668"/>
            <a:ext cx="87876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hour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113" name="TextBox 2112">
            <a:extLst>
              <a:ext uri="{FF2B5EF4-FFF2-40B4-BE49-F238E27FC236}">
                <a16:creationId xmlns:a16="http://schemas.microsoft.com/office/drawing/2014/main" id="{C17A65EE-678B-65EF-3019-67821ACB699F}"/>
              </a:ext>
            </a:extLst>
          </p:cNvPr>
          <p:cNvSpPr txBox="1"/>
          <p:nvPr/>
        </p:nvSpPr>
        <p:spPr>
          <a:xfrm>
            <a:off x="3998151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6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5" name="TextBox 2114">
            <a:extLst>
              <a:ext uri="{FF2B5EF4-FFF2-40B4-BE49-F238E27FC236}">
                <a16:creationId xmlns:a16="http://schemas.microsoft.com/office/drawing/2014/main" id="{A2A700D0-E252-6EBD-3787-CA231A67F322}"/>
              </a:ext>
            </a:extLst>
          </p:cNvPr>
          <p:cNvSpPr txBox="1"/>
          <p:nvPr/>
        </p:nvSpPr>
        <p:spPr>
          <a:xfrm>
            <a:off x="2405047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7" name="TextBox 2116">
            <a:extLst>
              <a:ext uri="{FF2B5EF4-FFF2-40B4-BE49-F238E27FC236}">
                <a16:creationId xmlns:a16="http://schemas.microsoft.com/office/drawing/2014/main" id="{887F6759-23A9-2CAE-7F7B-6B78395B9B82}"/>
              </a:ext>
            </a:extLst>
          </p:cNvPr>
          <p:cNvSpPr txBox="1"/>
          <p:nvPr/>
        </p:nvSpPr>
        <p:spPr>
          <a:xfrm>
            <a:off x="779404" y="7144960"/>
            <a:ext cx="112562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사용량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 algn="r"/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누적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cxnSp>
        <p:nvCxnSpPr>
          <p:cNvPr id="2119" name="직선 연결선 2118">
            <a:extLst>
              <a:ext uri="{FF2B5EF4-FFF2-40B4-BE49-F238E27FC236}">
                <a16:creationId xmlns:a16="http://schemas.microsoft.com/office/drawing/2014/main" id="{EC3A6757-607B-0723-1D35-E4ADA84CE984}"/>
              </a:ext>
            </a:extLst>
          </p:cNvPr>
          <p:cNvCxnSpPr>
            <a:cxnSpLocks/>
          </p:cNvCxnSpPr>
          <p:nvPr/>
        </p:nvCxnSpPr>
        <p:spPr>
          <a:xfrm flipV="1">
            <a:off x="1901052" y="8263584"/>
            <a:ext cx="811104" cy="246221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1" name="직선 연결선 2120">
            <a:extLst>
              <a:ext uri="{FF2B5EF4-FFF2-40B4-BE49-F238E27FC236}">
                <a16:creationId xmlns:a16="http://schemas.microsoft.com/office/drawing/2014/main" id="{C6C5168E-3037-D7DA-8E00-A6A0D783D576}"/>
              </a:ext>
            </a:extLst>
          </p:cNvPr>
          <p:cNvCxnSpPr>
            <a:cxnSpLocks/>
          </p:cNvCxnSpPr>
          <p:nvPr/>
        </p:nvCxnSpPr>
        <p:spPr>
          <a:xfrm flipV="1">
            <a:off x="2681987" y="8065942"/>
            <a:ext cx="850059" cy="20960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7" name="직선 연결선 2126">
            <a:extLst>
              <a:ext uri="{FF2B5EF4-FFF2-40B4-BE49-F238E27FC236}">
                <a16:creationId xmlns:a16="http://schemas.microsoft.com/office/drawing/2014/main" id="{BB630A17-3730-757D-FDC5-EDB48A912265}"/>
              </a:ext>
            </a:extLst>
          </p:cNvPr>
          <p:cNvCxnSpPr>
            <a:cxnSpLocks/>
          </p:cNvCxnSpPr>
          <p:nvPr/>
        </p:nvCxnSpPr>
        <p:spPr>
          <a:xfrm flipV="1">
            <a:off x="3532046" y="7769033"/>
            <a:ext cx="780265" cy="296909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8" name="직선 연결선 2127">
            <a:extLst>
              <a:ext uri="{FF2B5EF4-FFF2-40B4-BE49-F238E27FC236}">
                <a16:creationId xmlns:a16="http://schemas.microsoft.com/office/drawing/2014/main" id="{A553F648-000C-2FF4-B9A9-DA561AF1C45D}"/>
              </a:ext>
            </a:extLst>
          </p:cNvPr>
          <p:cNvCxnSpPr>
            <a:cxnSpLocks/>
          </p:cNvCxnSpPr>
          <p:nvPr/>
        </p:nvCxnSpPr>
        <p:spPr>
          <a:xfrm flipV="1">
            <a:off x="4309572" y="7406423"/>
            <a:ext cx="698894" cy="36261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9" name="TextBox 2128">
            <a:extLst>
              <a:ext uri="{FF2B5EF4-FFF2-40B4-BE49-F238E27FC236}">
                <a16:creationId xmlns:a16="http://schemas.microsoft.com/office/drawing/2014/main" id="{8FF8232D-6B67-5CD2-A7F5-52EBDC7EF9E8}"/>
              </a:ext>
            </a:extLst>
          </p:cNvPr>
          <p:cNvSpPr txBox="1"/>
          <p:nvPr/>
        </p:nvSpPr>
        <p:spPr>
          <a:xfrm>
            <a:off x="4738671" y="8511408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8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130" name="직선 연결선 2129">
            <a:extLst>
              <a:ext uri="{FF2B5EF4-FFF2-40B4-BE49-F238E27FC236}">
                <a16:creationId xmlns:a16="http://schemas.microsoft.com/office/drawing/2014/main" id="{E5E2B3FD-7D4B-2B0E-F81E-C4481942A77B}"/>
              </a:ext>
            </a:extLst>
          </p:cNvPr>
          <p:cNvCxnSpPr>
            <a:cxnSpLocks/>
          </p:cNvCxnSpPr>
          <p:nvPr/>
        </p:nvCxnSpPr>
        <p:spPr>
          <a:xfrm flipV="1">
            <a:off x="1901316" y="8325311"/>
            <a:ext cx="807211" cy="184494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1" name="직선 연결선 2130">
            <a:extLst>
              <a:ext uri="{FF2B5EF4-FFF2-40B4-BE49-F238E27FC236}">
                <a16:creationId xmlns:a16="http://schemas.microsoft.com/office/drawing/2014/main" id="{412A028A-5CAF-69A3-843C-C53B07FF3A4F}"/>
              </a:ext>
            </a:extLst>
          </p:cNvPr>
          <p:cNvCxnSpPr>
            <a:cxnSpLocks/>
          </p:cNvCxnSpPr>
          <p:nvPr/>
        </p:nvCxnSpPr>
        <p:spPr>
          <a:xfrm flipV="1">
            <a:off x="2682251" y="8123998"/>
            <a:ext cx="850059" cy="20960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직선 연결선 2131">
            <a:extLst>
              <a:ext uri="{FF2B5EF4-FFF2-40B4-BE49-F238E27FC236}">
                <a16:creationId xmlns:a16="http://schemas.microsoft.com/office/drawing/2014/main" id="{2C5C9E11-411C-6351-FCC8-FF4AD77DA5FA}"/>
              </a:ext>
            </a:extLst>
          </p:cNvPr>
          <p:cNvCxnSpPr>
            <a:cxnSpLocks/>
          </p:cNvCxnSpPr>
          <p:nvPr/>
        </p:nvCxnSpPr>
        <p:spPr>
          <a:xfrm flipV="1">
            <a:off x="3532325" y="7889882"/>
            <a:ext cx="801802" cy="23593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7" name="직선 연결선 2136">
            <a:extLst>
              <a:ext uri="{FF2B5EF4-FFF2-40B4-BE49-F238E27FC236}">
                <a16:creationId xmlns:a16="http://schemas.microsoft.com/office/drawing/2014/main" id="{67C8278F-BF8A-A298-FF81-7D500A3F2988}"/>
              </a:ext>
            </a:extLst>
          </p:cNvPr>
          <p:cNvCxnSpPr>
            <a:cxnSpLocks/>
          </p:cNvCxnSpPr>
          <p:nvPr/>
        </p:nvCxnSpPr>
        <p:spPr>
          <a:xfrm flipV="1">
            <a:off x="4309836" y="7556053"/>
            <a:ext cx="691949" cy="343606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8" name="화살표: 아래쪽 2137">
            <a:extLst>
              <a:ext uri="{FF2B5EF4-FFF2-40B4-BE49-F238E27FC236}">
                <a16:creationId xmlns:a16="http://schemas.microsoft.com/office/drawing/2014/main" id="{BF6DCEE1-887A-C2AE-7071-F4E7DC45544B}"/>
              </a:ext>
            </a:extLst>
          </p:cNvPr>
          <p:cNvSpPr/>
          <p:nvPr/>
        </p:nvSpPr>
        <p:spPr>
          <a:xfrm>
            <a:off x="3797991" y="7826579"/>
            <a:ext cx="222790" cy="290208"/>
          </a:xfrm>
          <a:prstGeom prst="down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139" name="TextBox 2138">
            <a:extLst>
              <a:ext uri="{FF2B5EF4-FFF2-40B4-BE49-F238E27FC236}">
                <a16:creationId xmlns:a16="http://schemas.microsoft.com/office/drawing/2014/main" id="{BA92F900-55D5-90E2-3891-2060D956AF80}"/>
              </a:ext>
            </a:extLst>
          </p:cNvPr>
          <p:cNvSpPr txBox="1"/>
          <p:nvPr/>
        </p:nvSpPr>
        <p:spPr>
          <a:xfrm>
            <a:off x="3948988" y="7233247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0" name="TextBox 2139">
            <a:extLst>
              <a:ext uri="{FF2B5EF4-FFF2-40B4-BE49-F238E27FC236}">
                <a16:creationId xmlns:a16="http://schemas.microsoft.com/office/drawing/2014/main" id="{9EAFB5B9-DB74-09FD-2BE2-68FA1249D186}"/>
              </a:ext>
            </a:extLst>
          </p:cNvPr>
          <p:cNvSpPr txBox="1"/>
          <p:nvPr/>
        </p:nvSpPr>
        <p:spPr>
          <a:xfrm>
            <a:off x="4841700" y="7580463"/>
            <a:ext cx="123944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Optimized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1" name="TextBox 2140">
            <a:extLst>
              <a:ext uri="{FF2B5EF4-FFF2-40B4-BE49-F238E27FC236}">
                <a16:creationId xmlns:a16="http://schemas.microsoft.com/office/drawing/2014/main" id="{5B6147D2-1ED8-383D-41F6-BC401DF74FB1}"/>
              </a:ext>
            </a:extLst>
          </p:cNvPr>
          <p:cNvSpPr txBox="1"/>
          <p:nvPr/>
        </p:nvSpPr>
        <p:spPr>
          <a:xfrm>
            <a:off x="4012665" y="8052381"/>
            <a:ext cx="207620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암모니아 사용량 절감</a:t>
            </a:r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2.5% </a:t>
            </a:r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이상</a:t>
            </a:r>
          </a:p>
        </p:txBody>
      </p:sp>
    </p:spTree>
    <p:extLst>
      <p:ext uri="{BB962C8B-B14F-4D97-AF65-F5344CB8AC3E}">
        <p14:creationId xmlns:p14="http://schemas.microsoft.com/office/powerpoint/2010/main" val="38431251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4C3EA7D4-1F26-8FD1-FCA8-15BA91B7B7E0}"/>
              </a:ext>
            </a:extLst>
          </p:cNvPr>
          <p:cNvSpPr/>
          <p:nvPr/>
        </p:nvSpPr>
        <p:spPr>
          <a:xfrm>
            <a:off x="2107418" y="5359350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A5260DBE-15D9-38EB-0677-B8BD85613C8E}"/>
              </a:ext>
            </a:extLst>
          </p:cNvPr>
          <p:cNvSpPr/>
          <p:nvPr/>
        </p:nvSpPr>
        <p:spPr>
          <a:xfrm>
            <a:off x="4715827" y="2854436"/>
            <a:ext cx="2132269" cy="104756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F01C892D-87B8-F7C9-C5D7-DC6E74BCB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4250" y="1106010"/>
            <a:ext cx="819264" cy="7811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49B05C5-78F3-6DFF-C048-5ECDF77DF2D7}"/>
              </a:ext>
            </a:extLst>
          </p:cNvPr>
          <p:cNvSpPr txBox="1"/>
          <p:nvPr/>
        </p:nvSpPr>
        <p:spPr>
          <a:xfrm>
            <a:off x="858146" y="1877027"/>
            <a:ext cx="228306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Prediction Model</a:t>
            </a:r>
          </a:p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Artificial Neural Network)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4" name="그림 13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375205A2-2B50-D2A1-7EDA-7BD3E0358C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4564657" y="1297698"/>
            <a:ext cx="2160000" cy="1092161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EE77085-6559-A77C-D788-7F76DD87BF7E}"/>
              </a:ext>
            </a:extLst>
          </p:cNvPr>
          <p:cNvSpPr/>
          <p:nvPr/>
        </p:nvSpPr>
        <p:spPr>
          <a:xfrm>
            <a:off x="713793" y="931181"/>
            <a:ext cx="6480000" cy="339373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6" name="화살표: 오른쪽 15">
            <a:extLst>
              <a:ext uri="{FF2B5EF4-FFF2-40B4-BE49-F238E27FC236}">
                <a16:creationId xmlns:a16="http://schemas.microsoft.com/office/drawing/2014/main" id="{E437853C-354D-F9AA-C993-2F6AD6CB9D01}"/>
              </a:ext>
            </a:extLst>
          </p:cNvPr>
          <p:cNvSpPr/>
          <p:nvPr/>
        </p:nvSpPr>
        <p:spPr>
          <a:xfrm>
            <a:off x="3154218" y="1694486"/>
            <a:ext cx="763467" cy="196538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27172D-BC58-B7F9-005C-A16E59B65DC9}"/>
              </a:ext>
            </a:extLst>
          </p:cNvPr>
          <p:cNvSpPr txBox="1"/>
          <p:nvPr/>
        </p:nvSpPr>
        <p:spPr>
          <a:xfrm>
            <a:off x="3878315" y="1081937"/>
            <a:ext cx="771365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</a:t>
            </a:r>
          </a:p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7A783-E4F4-30C6-5F4B-51765D7B0DD0}"/>
              </a:ext>
            </a:extLst>
          </p:cNvPr>
          <p:cNvSpPr txBox="1"/>
          <p:nvPr/>
        </p:nvSpPr>
        <p:spPr>
          <a:xfrm>
            <a:off x="6637960" y="2120926"/>
            <a:ext cx="550151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ime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2199A3-3684-2315-811E-F2D7FD46F247}"/>
              </a:ext>
            </a:extLst>
          </p:cNvPr>
          <p:cNvSpPr txBox="1"/>
          <p:nvPr/>
        </p:nvSpPr>
        <p:spPr>
          <a:xfrm>
            <a:off x="4789317" y="1188893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5E3F6A-66EC-8F32-C7CE-9CD73743BF9C}"/>
              </a:ext>
            </a:extLst>
          </p:cNvPr>
          <p:cNvSpPr txBox="1"/>
          <p:nvPr/>
        </p:nvSpPr>
        <p:spPr>
          <a:xfrm>
            <a:off x="4774890" y="2039332"/>
            <a:ext cx="12378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AC2ABEA3-4B84-B657-FB16-D0F212BAAA27}"/>
              </a:ext>
            </a:extLst>
          </p:cNvPr>
          <p:cNvSpPr/>
          <p:nvPr/>
        </p:nvSpPr>
        <p:spPr>
          <a:xfrm>
            <a:off x="713792" y="4411560"/>
            <a:ext cx="6480000" cy="43598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BBAAAA9-B0B5-6DDE-BCCC-CBEB5FFAA338}"/>
              </a:ext>
            </a:extLst>
          </p:cNvPr>
          <p:cNvSpPr txBox="1"/>
          <p:nvPr/>
        </p:nvSpPr>
        <p:spPr>
          <a:xfrm>
            <a:off x="2087521" y="526108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A986F3-77EE-CB9B-F1E8-C8347FAEF75C}"/>
              </a:ext>
            </a:extLst>
          </p:cNvPr>
          <p:cNvSpPr txBox="1"/>
          <p:nvPr/>
        </p:nvSpPr>
        <p:spPr>
          <a:xfrm>
            <a:off x="5287076" y="3078786"/>
            <a:ext cx="960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  pp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F65B9FD-1F41-5C68-F32C-646C9554A29D}"/>
              </a:ext>
            </a:extLst>
          </p:cNvPr>
          <p:cNvSpPr txBox="1"/>
          <p:nvPr/>
        </p:nvSpPr>
        <p:spPr>
          <a:xfrm>
            <a:off x="2073952" y="3248437"/>
            <a:ext cx="9189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7E8648-CF47-2248-494C-6FA4D674CF6F}"/>
              </a:ext>
            </a:extLst>
          </p:cNvPr>
          <p:cNvSpPr txBox="1"/>
          <p:nvPr/>
        </p:nvSpPr>
        <p:spPr>
          <a:xfrm>
            <a:off x="5275854" y="3482509"/>
            <a:ext cx="9829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2 pp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C4F1C8-F688-FE90-BD55-AE80A5E3C42E}"/>
              </a:ext>
            </a:extLst>
          </p:cNvPr>
          <p:cNvSpPr txBox="1"/>
          <p:nvPr/>
        </p:nvSpPr>
        <p:spPr>
          <a:xfrm>
            <a:off x="1131965" y="2933634"/>
            <a:ext cx="864340" cy="10307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7CA9EC2B-4C1D-2D92-123A-DC854443E741}"/>
              </a:ext>
            </a:extLst>
          </p:cNvPr>
          <p:cNvSpPr/>
          <p:nvPr/>
        </p:nvSpPr>
        <p:spPr>
          <a:xfrm>
            <a:off x="1020095" y="2857434"/>
            <a:ext cx="2044633" cy="11151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BA966E-7990-3A4D-17F8-F7F2C063398E}"/>
              </a:ext>
            </a:extLst>
          </p:cNvPr>
          <p:cNvSpPr txBox="1"/>
          <p:nvPr/>
        </p:nvSpPr>
        <p:spPr>
          <a:xfrm>
            <a:off x="1571490" y="2654684"/>
            <a:ext cx="704039" cy="36067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3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3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1" name="화살표: 오른쪽 30">
            <a:extLst>
              <a:ext uri="{FF2B5EF4-FFF2-40B4-BE49-F238E27FC236}">
                <a16:creationId xmlns:a16="http://schemas.microsoft.com/office/drawing/2014/main" id="{ED8883CB-97A9-0C79-A269-EFF2BA16B25B}"/>
              </a:ext>
            </a:extLst>
          </p:cNvPr>
          <p:cNvSpPr/>
          <p:nvPr/>
        </p:nvSpPr>
        <p:spPr>
          <a:xfrm>
            <a:off x="3147513" y="3117530"/>
            <a:ext cx="1924239" cy="129704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FCAF1E-6459-F789-C330-46A0D8BAB403}"/>
              </a:ext>
            </a:extLst>
          </p:cNvPr>
          <p:cNvSpPr txBox="1"/>
          <p:nvPr/>
        </p:nvSpPr>
        <p:spPr>
          <a:xfrm>
            <a:off x="5231121" y="2625656"/>
            <a:ext cx="1146724" cy="3400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DD63FB88-DF58-A3B7-F226-9FDD0300E644}"/>
              </a:ext>
            </a:extLst>
          </p:cNvPr>
          <p:cNvSpPr/>
          <p:nvPr/>
        </p:nvSpPr>
        <p:spPr>
          <a:xfrm>
            <a:off x="3147513" y="3508753"/>
            <a:ext cx="1924239" cy="140606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C626E62C-466A-23C9-D62C-D66A0A259D90}"/>
              </a:ext>
            </a:extLst>
          </p:cNvPr>
          <p:cNvSpPr/>
          <p:nvPr/>
        </p:nvSpPr>
        <p:spPr>
          <a:xfrm>
            <a:off x="3768706" y="3306820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56793D1F-E35C-B171-397E-D66E51E6B6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5050" y="3374955"/>
            <a:ext cx="396000" cy="37758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5C57DD5E-E4BC-4966-B434-3186CF3B996D}"/>
              </a:ext>
            </a:extLst>
          </p:cNvPr>
          <p:cNvSpPr txBox="1"/>
          <p:nvPr/>
        </p:nvSpPr>
        <p:spPr>
          <a:xfrm>
            <a:off x="3462880" y="2938926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B857D07-286C-10C7-FAD8-5CD35586F441}"/>
              </a:ext>
            </a:extLst>
          </p:cNvPr>
          <p:cNvSpPr txBox="1"/>
          <p:nvPr/>
        </p:nvSpPr>
        <p:spPr>
          <a:xfrm>
            <a:off x="3330225" y="3751037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FC52B90-F2D9-CB8A-AAAD-BEB9FB78034F}"/>
              </a:ext>
            </a:extLst>
          </p:cNvPr>
          <p:cNvSpPr txBox="1"/>
          <p:nvPr/>
        </p:nvSpPr>
        <p:spPr>
          <a:xfrm>
            <a:off x="4875724" y="3871502"/>
            <a:ext cx="1961050" cy="3400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예측 신뢰도 </a:t>
            </a: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90% 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상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CB868FF-E0D5-9BE9-7A94-E5447147C520}"/>
              </a:ext>
            </a:extLst>
          </p:cNvPr>
          <p:cNvSpPr txBox="1"/>
          <p:nvPr/>
        </p:nvSpPr>
        <p:spPr>
          <a:xfrm>
            <a:off x="1153845" y="4926362"/>
            <a:ext cx="864340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/>
            <a:endParaRPr lang="en-US" altLang="ko-KR" sz="105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7747DBE0-D758-AAEA-9469-B3F3DA4EAF38}"/>
              </a:ext>
            </a:extLst>
          </p:cNvPr>
          <p:cNvSpPr/>
          <p:nvPr/>
        </p:nvSpPr>
        <p:spPr>
          <a:xfrm>
            <a:off x="1029276" y="4524554"/>
            <a:ext cx="2088536" cy="209532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97E210-B853-555A-0587-F833EAF547B0}"/>
              </a:ext>
            </a:extLst>
          </p:cNvPr>
          <p:cNvSpPr txBox="1"/>
          <p:nvPr/>
        </p:nvSpPr>
        <p:spPr>
          <a:xfrm>
            <a:off x="1472906" y="4456914"/>
            <a:ext cx="665567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44CBF5F-7651-1C74-8EAC-3A9A9B38B084}"/>
              </a:ext>
            </a:extLst>
          </p:cNvPr>
          <p:cNvSpPr txBox="1"/>
          <p:nvPr/>
        </p:nvSpPr>
        <p:spPr>
          <a:xfrm>
            <a:off x="2146454" y="5517093"/>
            <a:ext cx="72327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5%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BF8FD95-6C8E-07A5-2EF2-E26478FB8FFF}"/>
              </a:ext>
            </a:extLst>
          </p:cNvPr>
          <p:cNvSpPr txBox="1"/>
          <p:nvPr/>
        </p:nvSpPr>
        <p:spPr>
          <a:xfrm>
            <a:off x="2138440" y="5801661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4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CA11A33-E314-ECE7-DCE1-80F4CC6BFA28}"/>
              </a:ext>
            </a:extLst>
          </p:cNvPr>
          <p:cNvSpPr txBox="1"/>
          <p:nvPr/>
        </p:nvSpPr>
        <p:spPr>
          <a:xfrm>
            <a:off x="2138440" y="6088048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6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39DD170-0E15-BF09-9EB9-25358240F0AC}"/>
              </a:ext>
            </a:extLst>
          </p:cNvPr>
          <p:cNvSpPr txBox="1"/>
          <p:nvPr/>
        </p:nvSpPr>
        <p:spPr>
          <a:xfrm>
            <a:off x="2392559" y="6319881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BAC5721-9ACE-0601-0C19-FC46E5BBD8E2}"/>
              </a:ext>
            </a:extLst>
          </p:cNvPr>
          <p:cNvSpPr txBox="1"/>
          <p:nvPr/>
        </p:nvSpPr>
        <p:spPr>
          <a:xfrm>
            <a:off x="2145653" y="4892594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80C6F4E7-1995-6AE0-CACF-2794B7EBF7CD}"/>
              </a:ext>
            </a:extLst>
          </p:cNvPr>
          <p:cNvSpPr/>
          <p:nvPr/>
        </p:nvSpPr>
        <p:spPr>
          <a:xfrm>
            <a:off x="2109492" y="4743511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F14615C-F6BC-9525-8D45-89F2CC94CDCA}"/>
              </a:ext>
            </a:extLst>
          </p:cNvPr>
          <p:cNvSpPr txBox="1"/>
          <p:nvPr/>
        </p:nvSpPr>
        <p:spPr>
          <a:xfrm>
            <a:off x="2120504" y="4675224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70B9AC9D-639A-0DBB-9E1A-B9EF8D3AE26B}"/>
              </a:ext>
            </a:extLst>
          </p:cNvPr>
          <p:cNvSpPr/>
          <p:nvPr/>
        </p:nvSpPr>
        <p:spPr>
          <a:xfrm>
            <a:off x="3464551" y="5157356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55" name="TextBox 2054">
            <a:extLst>
              <a:ext uri="{FF2B5EF4-FFF2-40B4-BE49-F238E27FC236}">
                <a16:creationId xmlns:a16="http://schemas.microsoft.com/office/drawing/2014/main" id="{EBAE0E65-F9BA-9D5B-9B0F-5B1EE13AEA1C}"/>
              </a:ext>
            </a:extLst>
          </p:cNvPr>
          <p:cNvSpPr txBox="1"/>
          <p:nvPr/>
        </p:nvSpPr>
        <p:spPr>
          <a:xfrm>
            <a:off x="3323829" y="4745920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2056" name="TextBox 2055">
            <a:extLst>
              <a:ext uri="{FF2B5EF4-FFF2-40B4-BE49-F238E27FC236}">
                <a16:creationId xmlns:a16="http://schemas.microsoft.com/office/drawing/2014/main" id="{CE489C6C-B308-415D-1759-183EA48EE9E3}"/>
              </a:ext>
            </a:extLst>
          </p:cNvPr>
          <p:cNvSpPr txBox="1"/>
          <p:nvPr/>
        </p:nvSpPr>
        <p:spPr>
          <a:xfrm>
            <a:off x="3178474" y="6107759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2058" name="사각형: 둥근 모서리 2057">
            <a:extLst>
              <a:ext uri="{FF2B5EF4-FFF2-40B4-BE49-F238E27FC236}">
                <a16:creationId xmlns:a16="http://schemas.microsoft.com/office/drawing/2014/main" id="{80BF0AA0-AA46-5BF0-7887-C89217255179}"/>
              </a:ext>
            </a:extLst>
          </p:cNvPr>
          <p:cNvSpPr/>
          <p:nvPr/>
        </p:nvSpPr>
        <p:spPr>
          <a:xfrm>
            <a:off x="4470815" y="4546196"/>
            <a:ext cx="1371219" cy="20736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68" name="TextBox 2067">
            <a:extLst>
              <a:ext uri="{FF2B5EF4-FFF2-40B4-BE49-F238E27FC236}">
                <a16:creationId xmlns:a16="http://schemas.microsoft.com/office/drawing/2014/main" id="{68DB1380-016E-91A9-6E1A-6211044EBDA7}"/>
              </a:ext>
            </a:extLst>
          </p:cNvPr>
          <p:cNvSpPr txBox="1"/>
          <p:nvPr/>
        </p:nvSpPr>
        <p:spPr>
          <a:xfrm>
            <a:off x="4613280" y="4426583"/>
            <a:ext cx="1146724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69" name="화살표: 오른쪽 2068">
            <a:extLst>
              <a:ext uri="{FF2B5EF4-FFF2-40B4-BE49-F238E27FC236}">
                <a16:creationId xmlns:a16="http://schemas.microsoft.com/office/drawing/2014/main" id="{875D10F6-5D50-67A2-E9DC-B28DFC66F9EA}"/>
              </a:ext>
            </a:extLst>
          </p:cNvPr>
          <p:cNvSpPr/>
          <p:nvPr/>
        </p:nvSpPr>
        <p:spPr>
          <a:xfrm>
            <a:off x="3216865" y="4924523"/>
            <a:ext cx="1432815" cy="163695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70" name="화살표: 오른쪽 2069">
            <a:extLst>
              <a:ext uri="{FF2B5EF4-FFF2-40B4-BE49-F238E27FC236}">
                <a16:creationId xmlns:a16="http://schemas.microsoft.com/office/drawing/2014/main" id="{BE10BA9B-70AB-0397-7CA4-55502943B279}"/>
              </a:ext>
            </a:extLst>
          </p:cNvPr>
          <p:cNvSpPr/>
          <p:nvPr/>
        </p:nvSpPr>
        <p:spPr>
          <a:xfrm>
            <a:off x="3247713" y="5865474"/>
            <a:ext cx="1401967" cy="182415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2077" name="그림 2076">
            <a:extLst>
              <a:ext uri="{FF2B5EF4-FFF2-40B4-BE49-F238E27FC236}">
                <a16:creationId xmlns:a16="http://schemas.microsoft.com/office/drawing/2014/main" id="{52AB760C-3778-0D72-C001-24CA5D006A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3299" y="5731677"/>
            <a:ext cx="396000" cy="377582"/>
          </a:xfrm>
          <a:prstGeom prst="rect">
            <a:avLst/>
          </a:prstGeom>
        </p:spPr>
      </p:pic>
      <p:sp>
        <p:nvSpPr>
          <p:cNvPr id="2078" name="TextBox 2077">
            <a:extLst>
              <a:ext uri="{FF2B5EF4-FFF2-40B4-BE49-F238E27FC236}">
                <a16:creationId xmlns:a16="http://schemas.microsoft.com/office/drawing/2014/main" id="{68F8BEBC-A7C2-5D87-9AC9-11BAD4DA21AC}"/>
              </a:ext>
            </a:extLst>
          </p:cNvPr>
          <p:cNvSpPr txBox="1"/>
          <p:nvPr/>
        </p:nvSpPr>
        <p:spPr>
          <a:xfrm>
            <a:off x="4773165" y="4935806"/>
            <a:ext cx="705642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ppm</a:t>
            </a:r>
          </a:p>
        </p:txBody>
      </p:sp>
      <p:sp>
        <p:nvSpPr>
          <p:cNvPr id="2079" name="사각형: 둥근 모서리 2078">
            <a:extLst>
              <a:ext uri="{FF2B5EF4-FFF2-40B4-BE49-F238E27FC236}">
                <a16:creationId xmlns:a16="http://schemas.microsoft.com/office/drawing/2014/main" id="{F318A269-8353-D692-B6F5-CBC1A94F9C99}"/>
              </a:ext>
            </a:extLst>
          </p:cNvPr>
          <p:cNvSpPr/>
          <p:nvPr/>
        </p:nvSpPr>
        <p:spPr>
          <a:xfrm>
            <a:off x="4720173" y="4786723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0" name="TextBox 2079">
            <a:extLst>
              <a:ext uri="{FF2B5EF4-FFF2-40B4-BE49-F238E27FC236}">
                <a16:creationId xmlns:a16="http://schemas.microsoft.com/office/drawing/2014/main" id="{E8853092-FAE5-086D-FE39-26D348B282DB}"/>
              </a:ext>
            </a:extLst>
          </p:cNvPr>
          <p:cNvSpPr txBox="1"/>
          <p:nvPr/>
        </p:nvSpPr>
        <p:spPr>
          <a:xfrm>
            <a:off x="4731185" y="4718436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1" name="사각형: 둥근 모서리 2080">
            <a:extLst>
              <a:ext uri="{FF2B5EF4-FFF2-40B4-BE49-F238E27FC236}">
                <a16:creationId xmlns:a16="http://schemas.microsoft.com/office/drawing/2014/main" id="{259931F4-1A1D-62C4-4502-05373EEF8320}"/>
              </a:ext>
            </a:extLst>
          </p:cNvPr>
          <p:cNvSpPr/>
          <p:nvPr/>
        </p:nvSpPr>
        <p:spPr>
          <a:xfrm>
            <a:off x="4733911" y="5358294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2" name="TextBox 2081">
            <a:extLst>
              <a:ext uri="{FF2B5EF4-FFF2-40B4-BE49-F238E27FC236}">
                <a16:creationId xmlns:a16="http://schemas.microsoft.com/office/drawing/2014/main" id="{BE993214-2390-6D83-8CF3-4D5BCB28C143}"/>
              </a:ext>
            </a:extLst>
          </p:cNvPr>
          <p:cNvSpPr txBox="1"/>
          <p:nvPr/>
        </p:nvSpPr>
        <p:spPr>
          <a:xfrm>
            <a:off x="4714014" y="528361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9384F36F-805C-CADE-E9C9-7FEB5FC14D80}"/>
              </a:ext>
            </a:extLst>
          </p:cNvPr>
          <p:cNvSpPr txBox="1"/>
          <p:nvPr/>
        </p:nvSpPr>
        <p:spPr>
          <a:xfrm>
            <a:off x="4768819" y="5541437"/>
            <a:ext cx="756938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2    ppm</a:t>
            </a:r>
          </a:p>
        </p:txBody>
      </p:sp>
      <p:sp>
        <p:nvSpPr>
          <p:cNvPr id="2085" name="TextBox 2084">
            <a:extLst>
              <a:ext uri="{FF2B5EF4-FFF2-40B4-BE49-F238E27FC236}">
                <a16:creationId xmlns:a16="http://schemas.microsoft.com/office/drawing/2014/main" id="{92B42908-1D95-8037-56DB-F36E7C9CF98D}"/>
              </a:ext>
            </a:extLst>
          </p:cNvPr>
          <p:cNvSpPr txBox="1"/>
          <p:nvPr/>
        </p:nvSpPr>
        <p:spPr>
          <a:xfrm>
            <a:off x="4764131" y="5826005"/>
            <a:ext cx="740907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      ppm</a:t>
            </a:r>
          </a:p>
        </p:txBody>
      </p:sp>
      <p:sp>
        <p:nvSpPr>
          <p:cNvPr id="2087" name="TextBox 2086">
            <a:extLst>
              <a:ext uri="{FF2B5EF4-FFF2-40B4-BE49-F238E27FC236}">
                <a16:creationId xmlns:a16="http://schemas.microsoft.com/office/drawing/2014/main" id="{AF26B4B8-2D02-766F-EF59-4E669C9C499C}"/>
              </a:ext>
            </a:extLst>
          </p:cNvPr>
          <p:cNvSpPr txBox="1"/>
          <p:nvPr/>
        </p:nvSpPr>
        <p:spPr>
          <a:xfrm>
            <a:off x="4757807" y="6114206"/>
            <a:ext cx="782587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8 ppm</a:t>
            </a:r>
          </a:p>
        </p:txBody>
      </p:sp>
      <p:sp>
        <p:nvSpPr>
          <p:cNvPr id="2088" name="TextBox 2087">
            <a:extLst>
              <a:ext uri="{FF2B5EF4-FFF2-40B4-BE49-F238E27FC236}">
                <a16:creationId xmlns:a16="http://schemas.microsoft.com/office/drawing/2014/main" id="{C80EFE52-43DE-CD26-8684-4D5C55B34CF3}"/>
              </a:ext>
            </a:extLst>
          </p:cNvPr>
          <p:cNvSpPr txBox="1"/>
          <p:nvPr/>
        </p:nvSpPr>
        <p:spPr>
          <a:xfrm>
            <a:off x="5019052" y="6344225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102" name="TextBox 2101">
            <a:extLst>
              <a:ext uri="{FF2B5EF4-FFF2-40B4-BE49-F238E27FC236}">
                <a16:creationId xmlns:a16="http://schemas.microsoft.com/office/drawing/2014/main" id="{8D98087B-9982-2407-A4E3-03B8B36F3137}"/>
              </a:ext>
            </a:extLst>
          </p:cNvPr>
          <p:cNvSpPr txBox="1"/>
          <p:nvPr/>
        </p:nvSpPr>
        <p:spPr>
          <a:xfrm>
            <a:off x="3507566" y="5481065"/>
            <a:ext cx="598241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Model</a:t>
            </a:r>
            <a:endParaRPr lang="ko-KR" altLang="en-US" sz="1100" dirty="0">
              <a:solidFill>
                <a:srgbClr val="4472C4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03" name="TextBox 2102">
            <a:extLst>
              <a:ext uri="{FF2B5EF4-FFF2-40B4-BE49-F238E27FC236}">
                <a16:creationId xmlns:a16="http://schemas.microsoft.com/office/drawing/2014/main" id="{83F70DFE-1C2F-8A83-BA43-6218C9EF9904}"/>
              </a:ext>
            </a:extLst>
          </p:cNvPr>
          <p:cNvSpPr txBox="1"/>
          <p:nvPr/>
        </p:nvSpPr>
        <p:spPr>
          <a:xfrm>
            <a:off x="936527" y="6663680"/>
            <a:ext cx="5966697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최적화 과정을 통해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배출량 환경 기준을 만족하면서 </a:t>
            </a:r>
            <a:r>
              <a:rPr lang="ko-KR" altLang="en-US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소비량을 감소시키는 </a:t>
            </a:r>
            <a:r>
              <a:rPr lang="en-US" altLang="ko-KR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도출</a:t>
            </a:r>
          </a:p>
        </p:txBody>
      </p:sp>
      <p:sp>
        <p:nvSpPr>
          <p:cNvPr id="2107" name="직사각형 2106">
            <a:extLst>
              <a:ext uri="{FF2B5EF4-FFF2-40B4-BE49-F238E27FC236}">
                <a16:creationId xmlns:a16="http://schemas.microsoft.com/office/drawing/2014/main" id="{77140D0F-99F0-3A2B-8E99-00782099BF5D}"/>
              </a:ext>
            </a:extLst>
          </p:cNvPr>
          <p:cNvSpPr/>
          <p:nvPr/>
        </p:nvSpPr>
        <p:spPr>
          <a:xfrm>
            <a:off x="1911057" y="7150127"/>
            <a:ext cx="4198171" cy="134944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sp>
        <p:nvSpPr>
          <p:cNvPr id="2108" name="TextBox 2107">
            <a:extLst>
              <a:ext uri="{FF2B5EF4-FFF2-40B4-BE49-F238E27FC236}">
                <a16:creationId xmlns:a16="http://schemas.microsoft.com/office/drawing/2014/main" id="{63530DEC-30C1-99EA-490E-54CB94ACD3C1}"/>
              </a:ext>
            </a:extLst>
          </p:cNvPr>
          <p:cNvSpPr txBox="1"/>
          <p:nvPr/>
        </p:nvSpPr>
        <p:spPr>
          <a:xfrm>
            <a:off x="3233349" y="8510547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4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2" name="TextBox 2111">
            <a:extLst>
              <a:ext uri="{FF2B5EF4-FFF2-40B4-BE49-F238E27FC236}">
                <a16:creationId xmlns:a16="http://schemas.microsoft.com/office/drawing/2014/main" id="{67D0A2EF-A143-D21B-36B5-930A176B605C}"/>
              </a:ext>
            </a:extLst>
          </p:cNvPr>
          <p:cNvSpPr txBox="1"/>
          <p:nvPr/>
        </p:nvSpPr>
        <p:spPr>
          <a:xfrm>
            <a:off x="6112857" y="8378668"/>
            <a:ext cx="87876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hour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113" name="TextBox 2112">
            <a:extLst>
              <a:ext uri="{FF2B5EF4-FFF2-40B4-BE49-F238E27FC236}">
                <a16:creationId xmlns:a16="http://schemas.microsoft.com/office/drawing/2014/main" id="{C17A65EE-678B-65EF-3019-67821ACB699F}"/>
              </a:ext>
            </a:extLst>
          </p:cNvPr>
          <p:cNvSpPr txBox="1"/>
          <p:nvPr/>
        </p:nvSpPr>
        <p:spPr>
          <a:xfrm>
            <a:off x="3998151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6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5" name="TextBox 2114">
            <a:extLst>
              <a:ext uri="{FF2B5EF4-FFF2-40B4-BE49-F238E27FC236}">
                <a16:creationId xmlns:a16="http://schemas.microsoft.com/office/drawing/2014/main" id="{A2A700D0-E252-6EBD-3787-CA231A67F322}"/>
              </a:ext>
            </a:extLst>
          </p:cNvPr>
          <p:cNvSpPr txBox="1"/>
          <p:nvPr/>
        </p:nvSpPr>
        <p:spPr>
          <a:xfrm>
            <a:off x="2405047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7" name="TextBox 2116">
            <a:extLst>
              <a:ext uri="{FF2B5EF4-FFF2-40B4-BE49-F238E27FC236}">
                <a16:creationId xmlns:a16="http://schemas.microsoft.com/office/drawing/2014/main" id="{887F6759-23A9-2CAE-7F7B-6B78395B9B82}"/>
              </a:ext>
            </a:extLst>
          </p:cNvPr>
          <p:cNvSpPr txBox="1"/>
          <p:nvPr/>
        </p:nvSpPr>
        <p:spPr>
          <a:xfrm>
            <a:off x="779404" y="7144960"/>
            <a:ext cx="112562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사용량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 algn="r"/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누적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cxnSp>
        <p:nvCxnSpPr>
          <p:cNvPr id="2119" name="직선 연결선 2118">
            <a:extLst>
              <a:ext uri="{FF2B5EF4-FFF2-40B4-BE49-F238E27FC236}">
                <a16:creationId xmlns:a16="http://schemas.microsoft.com/office/drawing/2014/main" id="{EC3A6757-607B-0723-1D35-E4ADA84CE984}"/>
              </a:ext>
            </a:extLst>
          </p:cNvPr>
          <p:cNvCxnSpPr>
            <a:cxnSpLocks/>
          </p:cNvCxnSpPr>
          <p:nvPr/>
        </p:nvCxnSpPr>
        <p:spPr>
          <a:xfrm flipV="1">
            <a:off x="1901052" y="8263584"/>
            <a:ext cx="811104" cy="246221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1" name="직선 연결선 2120">
            <a:extLst>
              <a:ext uri="{FF2B5EF4-FFF2-40B4-BE49-F238E27FC236}">
                <a16:creationId xmlns:a16="http://schemas.microsoft.com/office/drawing/2014/main" id="{C6C5168E-3037-D7DA-8E00-A6A0D783D576}"/>
              </a:ext>
            </a:extLst>
          </p:cNvPr>
          <p:cNvCxnSpPr>
            <a:cxnSpLocks/>
          </p:cNvCxnSpPr>
          <p:nvPr/>
        </p:nvCxnSpPr>
        <p:spPr>
          <a:xfrm flipV="1">
            <a:off x="2681987" y="8065942"/>
            <a:ext cx="850059" cy="20960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7" name="직선 연결선 2126">
            <a:extLst>
              <a:ext uri="{FF2B5EF4-FFF2-40B4-BE49-F238E27FC236}">
                <a16:creationId xmlns:a16="http://schemas.microsoft.com/office/drawing/2014/main" id="{BB630A17-3730-757D-FDC5-EDB48A912265}"/>
              </a:ext>
            </a:extLst>
          </p:cNvPr>
          <p:cNvCxnSpPr>
            <a:cxnSpLocks/>
          </p:cNvCxnSpPr>
          <p:nvPr/>
        </p:nvCxnSpPr>
        <p:spPr>
          <a:xfrm flipV="1">
            <a:off x="3532046" y="7769033"/>
            <a:ext cx="780265" cy="296909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8" name="직선 연결선 2127">
            <a:extLst>
              <a:ext uri="{FF2B5EF4-FFF2-40B4-BE49-F238E27FC236}">
                <a16:creationId xmlns:a16="http://schemas.microsoft.com/office/drawing/2014/main" id="{A553F648-000C-2FF4-B9A9-DA561AF1C45D}"/>
              </a:ext>
            </a:extLst>
          </p:cNvPr>
          <p:cNvCxnSpPr>
            <a:cxnSpLocks/>
          </p:cNvCxnSpPr>
          <p:nvPr/>
        </p:nvCxnSpPr>
        <p:spPr>
          <a:xfrm flipV="1">
            <a:off x="4309572" y="7406423"/>
            <a:ext cx="698894" cy="36261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9" name="TextBox 2128">
            <a:extLst>
              <a:ext uri="{FF2B5EF4-FFF2-40B4-BE49-F238E27FC236}">
                <a16:creationId xmlns:a16="http://schemas.microsoft.com/office/drawing/2014/main" id="{8FF8232D-6B67-5CD2-A7F5-52EBDC7EF9E8}"/>
              </a:ext>
            </a:extLst>
          </p:cNvPr>
          <p:cNvSpPr txBox="1"/>
          <p:nvPr/>
        </p:nvSpPr>
        <p:spPr>
          <a:xfrm>
            <a:off x="4738671" y="8511408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8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130" name="직선 연결선 2129">
            <a:extLst>
              <a:ext uri="{FF2B5EF4-FFF2-40B4-BE49-F238E27FC236}">
                <a16:creationId xmlns:a16="http://schemas.microsoft.com/office/drawing/2014/main" id="{E5E2B3FD-7D4B-2B0E-F81E-C4481942A77B}"/>
              </a:ext>
            </a:extLst>
          </p:cNvPr>
          <p:cNvCxnSpPr>
            <a:cxnSpLocks/>
          </p:cNvCxnSpPr>
          <p:nvPr/>
        </p:nvCxnSpPr>
        <p:spPr>
          <a:xfrm flipV="1">
            <a:off x="1901316" y="8325311"/>
            <a:ext cx="807211" cy="184494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1" name="직선 연결선 2130">
            <a:extLst>
              <a:ext uri="{FF2B5EF4-FFF2-40B4-BE49-F238E27FC236}">
                <a16:creationId xmlns:a16="http://schemas.microsoft.com/office/drawing/2014/main" id="{412A028A-5CAF-69A3-843C-C53B07FF3A4F}"/>
              </a:ext>
            </a:extLst>
          </p:cNvPr>
          <p:cNvCxnSpPr>
            <a:cxnSpLocks/>
          </p:cNvCxnSpPr>
          <p:nvPr/>
        </p:nvCxnSpPr>
        <p:spPr>
          <a:xfrm flipV="1">
            <a:off x="2682251" y="8123998"/>
            <a:ext cx="850059" cy="20960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직선 연결선 2131">
            <a:extLst>
              <a:ext uri="{FF2B5EF4-FFF2-40B4-BE49-F238E27FC236}">
                <a16:creationId xmlns:a16="http://schemas.microsoft.com/office/drawing/2014/main" id="{2C5C9E11-411C-6351-FCC8-FF4AD77DA5FA}"/>
              </a:ext>
            </a:extLst>
          </p:cNvPr>
          <p:cNvCxnSpPr>
            <a:cxnSpLocks/>
          </p:cNvCxnSpPr>
          <p:nvPr/>
        </p:nvCxnSpPr>
        <p:spPr>
          <a:xfrm flipV="1">
            <a:off x="3532325" y="7889882"/>
            <a:ext cx="801802" cy="23593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7" name="직선 연결선 2136">
            <a:extLst>
              <a:ext uri="{FF2B5EF4-FFF2-40B4-BE49-F238E27FC236}">
                <a16:creationId xmlns:a16="http://schemas.microsoft.com/office/drawing/2014/main" id="{67C8278F-BF8A-A298-FF81-7D500A3F2988}"/>
              </a:ext>
            </a:extLst>
          </p:cNvPr>
          <p:cNvCxnSpPr>
            <a:cxnSpLocks/>
          </p:cNvCxnSpPr>
          <p:nvPr/>
        </p:nvCxnSpPr>
        <p:spPr>
          <a:xfrm flipV="1">
            <a:off x="4309836" y="7556053"/>
            <a:ext cx="691949" cy="343606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8" name="화살표: 아래쪽 2137">
            <a:extLst>
              <a:ext uri="{FF2B5EF4-FFF2-40B4-BE49-F238E27FC236}">
                <a16:creationId xmlns:a16="http://schemas.microsoft.com/office/drawing/2014/main" id="{BF6DCEE1-887A-C2AE-7071-F4E7DC45544B}"/>
              </a:ext>
            </a:extLst>
          </p:cNvPr>
          <p:cNvSpPr/>
          <p:nvPr/>
        </p:nvSpPr>
        <p:spPr>
          <a:xfrm>
            <a:off x="3797991" y="7826579"/>
            <a:ext cx="222790" cy="290208"/>
          </a:xfrm>
          <a:prstGeom prst="down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139" name="TextBox 2138">
            <a:extLst>
              <a:ext uri="{FF2B5EF4-FFF2-40B4-BE49-F238E27FC236}">
                <a16:creationId xmlns:a16="http://schemas.microsoft.com/office/drawing/2014/main" id="{BA92F900-55D5-90E2-3891-2060D956AF80}"/>
              </a:ext>
            </a:extLst>
          </p:cNvPr>
          <p:cNvSpPr txBox="1"/>
          <p:nvPr/>
        </p:nvSpPr>
        <p:spPr>
          <a:xfrm>
            <a:off x="3948988" y="7233247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0" name="TextBox 2139">
            <a:extLst>
              <a:ext uri="{FF2B5EF4-FFF2-40B4-BE49-F238E27FC236}">
                <a16:creationId xmlns:a16="http://schemas.microsoft.com/office/drawing/2014/main" id="{9EAFB5B9-DB74-09FD-2BE2-68FA1249D186}"/>
              </a:ext>
            </a:extLst>
          </p:cNvPr>
          <p:cNvSpPr txBox="1"/>
          <p:nvPr/>
        </p:nvSpPr>
        <p:spPr>
          <a:xfrm>
            <a:off x="4841700" y="7580463"/>
            <a:ext cx="123944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Optimized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1" name="TextBox 2140">
            <a:extLst>
              <a:ext uri="{FF2B5EF4-FFF2-40B4-BE49-F238E27FC236}">
                <a16:creationId xmlns:a16="http://schemas.microsoft.com/office/drawing/2014/main" id="{5B6147D2-1ED8-383D-41F6-BC401DF74FB1}"/>
              </a:ext>
            </a:extLst>
          </p:cNvPr>
          <p:cNvSpPr txBox="1"/>
          <p:nvPr/>
        </p:nvSpPr>
        <p:spPr>
          <a:xfrm>
            <a:off x="4012665" y="8052381"/>
            <a:ext cx="207620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암모니아 사용량 절감</a:t>
            </a:r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2.5% </a:t>
            </a:r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이상</a:t>
            </a: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ABD25370-321B-ABB3-E8EF-36CDCB1F43BB}"/>
              </a:ext>
            </a:extLst>
          </p:cNvPr>
          <p:cNvSpPr/>
          <p:nvPr/>
        </p:nvSpPr>
        <p:spPr>
          <a:xfrm>
            <a:off x="6110860" y="5440071"/>
            <a:ext cx="1002727" cy="928051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3AAF6F-8CA1-51FC-A205-C03351C91691}"/>
              </a:ext>
            </a:extLst>
          </p:cNvPr>
          <p:cNvSpPr txBox="1"/>
          <p:nvPr/>
        </p:nvSpPr>
        <p:spPr>
          <a:xfrm>
            <a:off x="6044136" y="5294433"/>
            <a:ext cx="1094852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ed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" name="화살표: 오른쪽 6">
            <a:extLst>
              <a:ext uri="{FF2B5EF4-FFF2-40B4-BE49-F238E27FC236}">
                <a16:creationId xmlns:a16="http://schemas.microsoft.com/office/drawing/2014/main" id="{69CF84EC-EAD6-8E3C-6F89-C3E8F989379F}"/>
              </a:ext>
            </a:extLst>
          </p:cNvPr>
          <p:cNvSpPr/>
          <p:nvPr/>
        </p:nvSpPr>
        <p:spPr>
          <a:xfrm>
            <a:off x="5582691" y="5850287"/>
            <a:ext cx="498451" cy="216726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C1C929-9E25-EEFF-FDE2-AE36252B878E}"/>
              </a:ext>
            </a:extLst>
          </p:cNvPr>
          <p:cNvSpPr txBox="1"/>
          <p:nvPr/>
        </p:nvSpPr>
        <p:spPr>
          <a:xfrm>
            <a:off x="6247433" y="5594288"/>
            <a:ext cx="713658" cy="246221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0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0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6%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95EB6E-F385-F821-AB73-C1B7B6CFC21D}"/>
              </a:ext>
            </a:extLst>
          </p:cNvPr>
          <p:cNvSpPr txBox="1"/>
          <p:nvPr/>
        </p:nvSpPr>
        <p:spPr>
          <a:xfrm>
            <a:off x="6124709" y="5844273"/>
            <a:ext cx="1000595" cy="4858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br>
              <a:rPr lang="en-US" altLang="ko-KR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보다 더 작은 </a:t>
            </a:r>
            <a:r>
              <a:rPr lang="en-US" altLang="ko-KR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endParaRPr lang="ko-KR" altLang="en-US" sz="9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681336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그래픽 83" descr="문서 윤곽선">
            <a:extLst>
              <a:ext uri="{FF2B5EF4-FFF2-40B4-BE49-F238E27FC236}">
                <a16:creationId xmlns:a16="http://schemas.microsoft.com/office/drawing/2014/main" id="{08C883F5-6A63-3D7A-AE55-42697EEFE0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2318" y="3865191"/>
            <a:ext cx="1448679" cy="1448679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7D82F3EB-09F9-3CD6-6714-2FC173C67827}"/>
              </a:ext>
            </a:extLst>
          </p:cNvPr>
          <p:cNvSpPr/>
          <p:nvPr/>
        </p:nvSpPr>
        <p:spPr>
          <a:xfrm>
            <a:off x="6301017" y="0"/>
            <a:ext cx="5389123" cy="146887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8451D5-4FF5-E709-3033-8074E9298A3D}"/>
              </a:ext>
            </a:extLst>
          </p:cNvPr>
          <p:cNvSpPr txBox="1"/>
          <p:nvPr/>
        </p:nvSpPr>
        <p:spPr>
          <a:xfrm>
            <a:off x="6270061" y="600075"/>
            <a:ext cx="839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sets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" name="타원 3">
            <a:extLst>
              <a:ext uri="{FF2B5EF4-FFF2-40B4-BE49-F238E27FC236}">
                <a16:creationId xmlns:a16="http://schemas.microsoft.com/office/drawing/2014/main" id="{2B4C48A4-E1A8-F3F4-15EF-1C3180643384}"/>
              </a:ext>
            </a:extLst>
          </p:cNvPr>
          <p:cNvSpPr/>
          <p:nvPr/>
        </p:nvSpPr>
        <p:spPr>
          <a:xfrm>
            <a:off x="7960458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8A2680-4B8D-6ECC-50FA-653BB8640846}"/>
              </a:ext>
            </a:extLst>
          </p:cNvPr>
          <p:cNvSpPr txBox="1"/>
          <p:nvPr/>
        </p:nvSpPr>
        <p:spPr>
          <a:xfrm>
            <a:off x="7989033" y="957128"/>
            <a:ext cx="6639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6" name="타원 5">
            <a:extLst>
              <a:ext uri="{FF2B5EF4-FFF2-40B4-BE49-F238E27FC236}">
                <a16:creationId xmlns:a16="http://schemas.microsoft.com/office/drawing/2014/main" id="{EFCCC2E7-C683-7259-BFA2-B14EB2ADA88C}"/>
              </a:ext>
            </a:extLst>
          </p:cNvPr>
          <p:cNvSpPr/>
          <p:nvPr/>
        </p:nvSpPr>
        <p:spPr>
          <a:xfrm>
            <a:off x="8773496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39496D-5936-EBB5-754E-F9686251F169}"/>
              </a:ext>
            </a:extLst>
          </p:cNvPr>
          <p:cNvSpPr txBox="1"/>
          <p:nvPr/>
        </p:nvSpPr>
        <p:spPr>
          <a:xfrm>
            <a:off x="8800642" y="911694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MMONIA </a:t>
            </a:r>
            <a:b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8" name="타원 7">
            <a:extLst>
              <a:ext uri="{FF2B5EF4-FFF2-40B4-BE49-F238E27FC236}">
                <a16:creationId xmlns:a16="http://schemas.microsoft.com/office/drawing/2014/main" id="{B5A384C8-E403-8281-951E-771248C9564F}"/>
              </a:ext>
            </a:extLst>
          </p:cNvPr>
          <p:cNvSpPr/>
          <p:nvPr/>
        </p:nvSpPr>
        <p:spPr>
          <a:xfrm>
            <a:off x="9592646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9545BF-D7B8-197A-2E87-82AD6536021C}"/>
              </a:ext>
            </a:extLst>
          </p:cNvPr>
          <p:cNvSpPr txBox="1"/>
          <p:nvPr/>
        </p:nvSpPr>
        <p:spPr>
          <a:xfrm>
            <a:off x="9611696" y="957128"/>
            <a:ext cx="7024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7B828E05-333A-2E1D-724D-054287C3B876}"/>
              </a:ext>
            </a:extLst>
          </p:cNvPr>
          <p:cNvSpPr/>
          <p:nvPr/>
        </p:nvSpPr>
        <p:spPr>
          <a:xfrm>
            <a:off x="10426078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A8A46-10A5-F4B2-6D3D-0B0A0DFBA82D}"/>
              </a:ext>
            </a:extLst>
          </p:cNvPr>
          <p:cNvSpPr txBox="1"/>
          <p:nvPr/>
        </p:nvSpPr>
        <p:spPr>
          <a:xfrm>
            <a:off x="10568953" y="957128"/>
            <a:ext cx="4587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1ACB29-B94D-03C3-EEE6-7311FB719DC5}"/>
              </a:ext>
            </a:extLst>
          </p:cNvPr>
          <p:cNvSpPr txBox="1"/>
          <p:nvPr/>
        </p:nvSpPr>
        <p:spPr>
          <a:xfrm>
            <a:off x="11139728" y="815518"/>
            <a:ext cx="610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/>
              <a:t>… …  </a:t>
            </a:r>
            <a:endParaRPr lang="ko-KR" altLang="en-US" dirty="0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69562582-BAF2-4870-067A-EBB0EE08F491}"/>
              </a:ext>
            </a:extLst>
          </p:cNvPr>
          <p:cNvSpPr/>
          <p:nvPr/>
        </p:nvSpPr>
        <p:spPr>
          <a:xfrm>
            <a:off x="7991721" y="106338"/>
            <a:ext cx="3359150" cy="26670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3CFCB9D-88E5-D98B-9826-F74354D135F4}"/>
              </a:ext>
            </a:extLst>
          </p:cNvPr>
          <p:cNvSpPr/>
          <p:nvPr/>
        </p:nvSpPr>
        <p:spPr>
          <a:xfrm>
            <a:off x="9090271" y="106338"/>
            <a:ext cx="1155700" cy="26670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C8C847-DF08-4D92-4348-AB89F89BEA7B}"/>
              </a:ext>
            </a:extLst>
          </p:cNvPr>
          <p:cNvSpPr txBox="1"/>
          <p:nvPr/>
        </p:nvSpPr>
        <p:spPr>
          <a:xfrm>
            <a:off x="88504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9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3120D89-1B56-731E-BE62-371ED30AF990}"/>
              </a:ext>
            </a:extLst>
          </p:cNvPr>
          <p:cNvSpPr txBox="1"/>
          <p:nvPr/>
        </p:nvSpPr>
        <p:spPr>
          <a:xfrm>
            <a:off x="942831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0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EC5E79-4886-496E-FF1D-BC2692A32CDC}"/>
              </a:ext>
            </a:extLst>
          </p:cNvPr>
          <p:cNvSpPr txBox="1"/>
          <p:nvPr/>
        </p:nvSpPr>
        <p:spPr>
          <a:xfrm>
            <a:off x="100061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1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AA8C875-F568-7021-0BDF-482B91E6B7DA}"/>
              </a:ext>
            </a:extLst>
          </p:cNvPr>
          <p:cNvSpPr txBox="1"/>
          <p:nvPr/>
        </p:nvSpPr>
        <p:spPr>
          <a:xfrm>
            <a:off x="111110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5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C00B28-7CF1-ED7E-AC95-A45874631265}"/>
              </a:ext>
            </a:extLst>
          </p:cNvPr>
          <p:cNvSpPr txBox="1"/>
          <p:nvPr/>
        </p:nvSpPr>
        <p:spPr>
          <a:xfrm>
            <a:off x="7804203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7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C663F1F-9975-EFDA-9472-D33B317DDCD7}"/>
              </a:ext>
            </a:extLst>
          </p:cNvPr>
          <p:cNvSpPr txBox="1"/>
          <p:nvPr/>
        </p:nvSpPr>
        <p:spPr>
          <a:xfrm>
            <a:off x="7028936" y="125914"/>
            <a:ext cx="9252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imeframe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C7ED94-AF04-D0E5-1578-FF7A6973F196}"/>
              </a:ext>
            </a:extLst>
          </p:cNvPr>
          <p:cNvSpPr txBox="1"/>
          <p:nvPr/>
        </p:nvSpPr>
        <p:spPr>
          <a:xfrm>
            <a:off x="7101880" y="943570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eatures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3C3B8B13-D12E-31A7-DE32-CAC9DBDDDC82}"/>
              </a:ext>
            </a:extLst>
          </p:cNvPr>
          <p:cNvSpPr/>
          <p:nvPr/>
        </p:nvSpPr>
        <p:spPr>
          <a:xfrm>
            <a:off x="6301017" y="1677129"/>
            <a:ext cx="5389123" cy="116537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F6055AC-EC4A-A06E-4E19-B67AF6E5887E}"/>
              </a:ext>
            </a:extLst>
          </p:cNvPr>
          <p:cNvSpPr txBox="1"/>
          <p:nvPr/>
        </p:nvSpPr>
        <p:spPr>
          <a:xfrm>
            <a:off x="9304719" y="2542915"/>
            <a:ext cx="15359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Preprocess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24" name="그래픽 23" descr="데이터베이스 단색으로 채워진">
            <a:extLst>
              <a:ext uri="{FF2B5EF4-FFF2-40B4-BE49-F238E27FC236}">
                <a16:creationId xmlns:a16="http://schemas.microsoft.com/office/drawing/2014/main" id="{FDFBFBC7-0305-A54E-C461-12E437915A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27601" y="1771884"/>
            <a:ext cx="1012708" cy="722095"/>
          </a:xfrm>
          <a:prstGeom prst="rect">
            <a:avLst/>
          </a:prstGeom>
        </p:spPr>
      </p:pic>
      <p:sp>
        <p:nvSpPr>
          <p:cNvPr id="25" name="직사각형 24">
            <a:extLst>
              <a:ext uri="{FF2B5EF4-FFF2-40B4-BE49-F238E27FC236}">
                <a16:creationId xmlns:a16="http://schemas.microsoft.com/office/drawing/2014/main" id="{BF1021EA-D08F-74D7-594B-5A876023803A}"/>
              </a:ext>
            </a:extLst>
          </p:cNvPr>
          <p:cNvSpPr/>
          <p:nvPr/>
        </p:nvSpPr>
        <p:spPr>
          <a:xfrm>
            <a:off x="9754413" y="2082430"/>
            <a:ext cx="295275" cy="320221"/>
          </a:xfrm>
          <a:prstGeom prst="rect">
            <a:avLst/>
          </a:prstGeom>
          <a:solidFill>
            <a:schemeClr val="bg1"/>
          </a:solidFill>
          <a:ln w="19050">
            <a:solidFill>
              <a:srgbClr val="5B9B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6" name="그래픽 25" descr="톱니바퀴 윤곽선">
            <a:extLst>
              <a:ext uri="{FF2B5EF4-FFF2-40B4-BE49-F238E27FC236}">
                <a16:creationId xmlns:a16="http://schemas.microsoft.com/office/drawing/2014/main" id="{46301EC0-7914-6314-A8A7-2835FA921C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85763" y="2082430"/>
            <a:ext cx="430600" cy="339271"/>
          </a:xfrm>
          <a:prstGeom prst="rect">
            <a:avLst/>
          </a:prstGeom>
        </p:spPr>
      </p:pic>
      <p:pic>
        <p:nvPicPr>
          <p:cNvPr id="27" name="그래픽 26" descr="데이터베이스 단색으로 채워진">
            <a:extLst>
              <a:ext uri="{FF2B5EF4-FFF2-40B4-BE49-F238E27FC236}">
                <a16:creationId xmlns:a16="http://schemas.microsoft.com/office/drawing/2014/main" id="{B460DA07-9ACB-0B06-50FF-43BB832A9F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7284673" y="1806355"/>
            <a:ext cx="632750" cy="451173"/>
          </a:xfrm>
          <a:prstGeom prst="rect">
            <a:avLst/>
          </a:prstGeom>
        </p:spPr>
      </p:pic>
      <p:pic>
        <p:nvPicPr>
          <p:cNvPr id="28" name="그래픽 27" descr="데이터베이스 단색으로 채워진">
            <a:extLst>
              <a:ext uri="{FF2B5EF4-FFF2-40B4-BE49-F238E27FC236}">
                <a16:creationId xmlns:a16="http://schemas.microsoft.com/office/drawing/2014/main" id="{801DAF3D-585E-BEE2-B8DC-BD7C984056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7673953" y="1806355"/>
            <a:ext cx="632750" cy="451173"/>
          </a:xfrm>
          <a:prstGeom prst="rect">
            <a:avLst/>
          </a:prstGeom>
        </p:spPr>
      </p:pic>
      <p:pic>
        <p:nvPicPr>
          <p:cNvPr id="29" name="그래픽 28" descr="데이터베이스 단색으로 채워진">
            <a:extLst>
              <a:ext uri="{FF2B5EF4-FFF2-40B4-BE49-F238E27FC236}">
                <a16:creationId xmlns:a16="http://schemas.microsoft.com/office/drawing/2014/main" id="{0DB7E9AB-0591-1E3F-A159-1012B160BA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7478680" y="1997038"/>
            <a:ext cx="632750" cy="45117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0801912-26EC-8CFB-7606-D89F0C550002}"/>
              </a:ext>
            </a:extLst>
          </p:cNvPr>
          <p:cNvSpPr txBox="1"/>
          <p:nvPr/>
        </p:nvSpPr>
        <p:spPr>
          <a:xfrm>
            <a:off x="7300813" y="2542915"/>
            <a:ext cx="11544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Clean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31" name="그래픽 30" descr="가위 윤곽선">
            <a:extLst>
              <a:ext uri="{FF2B5EF4-FFF2-40B4-BE49-F238E27FC236}">
                <a16:creationId xmlns:a16="http://schemas.microsoft.com/office/drawing/2014/main" id="{413238F4-2C8A-08B2-E4D5-65FEE0BE1B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7951254" y="2161005"/>
            <a:ext cx="367980" cy="367980"/>
          </a:xfrm>
          <a:prstGeom prst="rect">
            <a:avLst/>
          </a:prstGeom>
        </p:spPr>
      </p:pic>
      <p:sp>
        <p:nvSpPr>
          <p:cNvPr id="32" name="직사각형 31">
            <a:extLst>
              <a:ext uri="{FF2B5EF4-FFF2-40B4-BE49-F238E27FC236}">
                <a16:creationId xmlns:a16="http://schemas.microsoft.com/office/drawing/2014/main" id="{30EC4B54-A769-315A-AD72-D2BEB3322408}"/>
              </a:ext>
            </a:extLst>
          </p:cNvPr>
          <p:cNvSpPr/>
          <p:nvPr/>
        </p:nvSpPr>
        <p:spPr>
          <a:xfrm>
            <a:off x="6300559" y="3041738"/>
            <a:ext cx="5389123" cy="35622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4CDBDA9E-571C-8A32-AC9B-41A22B86DE0C}"/>
              </a:ext>
            </a:extLst>
          </p:cNvPr>
          <p:cNvSpPr/>
          <p:nvPr/>
        </p:nvSpPr>
        <p:spPr>
          <a:xfrm>
            <a:off x="8230421" y="4343242"/>
            <a:ext cx="437967" cy="238125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4" name="그림 33" descr="텍스트, 도표, 지도이(가) 표시된 사진&#10;&#10;자동 생성된 설명">
            <a:extLst>
              <a:ext uri="{FF2B5EF4-FFF2-40B4-BE49-F238E27FC236}">
                <a16:creationId xmlns:a16="http://schemas.microsoft.com/office/drawing/2014/main" id="{98DF2572-2CF2-EBAC-F5F0-B19DE83FDFF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496" y="3185981"/>
            <a:ext cx="2880000" cy="309913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33892C10-60B9-90AF-8269-A795234C9EB5}"/>
              </a:ext>
            </a:extLst>
          </p:cNvPr>
          <p:cNvSpPr txBox="1"/>
          <p:nvPr/>
        </p:nvSpPr>
        <p:spPr>
          <a:xfrm>
            <a:off x="9200060" y="6038750"/>
            <a:ext cx="230543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 Optimization</a:t>
            </a:r>
          </a:p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Particle Swarm Optimization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312D6F5-7039-2A69-A068-D6145A1BACA3}"/>
              </a:ext>
            </a:extLst>
          </p:cNvPr>
          <p:cNvSpPr txBox="1"/>
          <p:nvPr/>
        </p:nvSpPr>
        <p:spPr>
          <a:xfrm>
            <a:off x="9177943" y="133608"/>
            <a:ext cx="10398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Reliable Data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37" name="화살표: 아래쪽 36">
            <a:extLst>
              <a:ext uri="{FF2B5EF4-FFF2-40B4-BE49-F238E27FC236}">
                <a16:creationId xmlns:a16="http://schemas.microsoft.com/office/drawing/2014/main" id="{C4D42611-0751-F93E-6AA9-7D1AF5151B34}"/>
              </a:ext>
            </a:extLst>
          </p:cNvPr>
          <p:cNvSpPr/>
          <p:nvPr/>
        </p:nvSpPr>
        <p:spPr>
          <a:xfrm>
            <a:off x="8850462" y="1468877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화살표: 아래쪽 37">
            <a:extLst>
              <a:ext uri="{FF2B5EF4-FFF2-40B4-BE49-F238E27FC236}">
                <a16:creationId xmlns:a16="http://schemas.microsoft.com/office/drawing/2014/main" id="{596DD299-A016-DEB0-C38F-0156FBA9258A}"/>
              </a:ext>
            </a:extLst>
          </p:cNvPr>
          <p:cNvSpPr/>
          <p:nvPr/>
        </p:nvSpPr>
        <p:spPr>
          <a:xfrm>
            <a:off x="8855722" y="2858354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0" name="그래픽 39" descr="블로그 단색으로 채워진">
            <a:extLst>
              <a:ext uri="{FF2B5EF4-FFF2-40B4-BE49-F238E27FC236}">
                <a16:creationId xmlns:a16="http://schemas.microsoft.com/office/drawing/2014/main" id="{14F2C4A4-A276-3145-443F-906AE2055C6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374757" y="7041998"/>
            <a:ext cx="914400" cy="914400"/>
          </a:xfrm>
          <a:prstGeom prst="rect">
            <a:avLst/>
          </a:prstGeom>
        </p:spPr>
      </p:pic>
      <p:pic>
        <p:nvPicPr>
          <p:cNvPr id="42" name="그래픽 41" descr="청사진 단색으로 채워진">
            <a:extLst>
              <a:ext uri="{FF2B5EF4-FFF2-40B4-BE49-F238E27FC236}">
                <a16:creationId xmlns:a16="http://schemas.microsoft.com/office/drawing/2014/main" id="{608EBB41-F9FD-BA92-227A-53FE4AB4D09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986998" y="5689467"/>
            <a:ext cx="914400" cy="914400"/>
          </a:xfrm>
          <a:prstGeom prst="rect">
            <a:avLst/>
          </a:prstGeom>
        </p:spPr>
      </p:pic>
      <p:pic>
        <p:nvPicPr>
          <p:cNvPr id="44" name="그래픽 43" descr="돋보기 단색으로 채워진">
            <a:extLst>
              <a:ext uri="{FF2B5EF4-FFF2-40B4-BE49-F238E27FC236}">
                <a16:creationId xmlns:a16="http://schemas.microsoft.com/office/drawing/2014/main" id="{A70B8577-1327-BA3A-97BF-2CEFBE18F6C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962296" y="6898975"/>
            <a:ext cx="914400" cy="914400"/>
          </a:xfrm>
          <a:prstGeom prst="rect">
            <a:avLst/>
          </a:prstGeom>
        </p:spPr>
      </p:pic>
      <p:pic>
        <p:nvPicPr>
          <p:cNvPr id="48" name="그래픽 47" descr="문서 단색으로 채워진">
            <a:extLst>
              <a:ext uri="{FF2B5EF4-FFF2-40B4-BE49-F238E27FC236}">
                <a16:creationId xmlns:a16="http://schemas.microsoft.com/office/drawing/2014/main" id="{672FA611-EC3D-0056-2E28-7EB141499A2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805927" y="6146667"/>
            <a:ext cx="914400" cy="914400"/>
          </a:xfrm>
          <a:prstGeom prst="rect">
            <a:avLst/>
          </a:prstGeom>
        </p:spPr>
      </p:pic>
      <p:grpSp>
        <p:nvGrpSpPr>
          <p:cNvPr id="64" name="그룹 63">
            <a:extLst>
              <a:ext uri="{FF2B5EF4-FFF2-40B4-BE49-F238E27FC236}">
                <a16:creationId xmlns:a16="http://schemas.microsoft.com/office/drawing/2014/main" id="{7CE7DACE-4D8E-3C61-4300-081AD3E71BD6}"/>
              </a:ext>
            </a:extLst>
          </p:cNvPr>
          <p:cNvGrpSpPr/>
          <p:nvPr/>
        </p:nvGrpSpPr>
        <p:grpSpPr>
          <a:xfrm>
            <a:off x="4537450" y="6604000"/>
            <a:ext cx="1613090" cy="1445278"/>
            <a:chOff x="3478631" y="812250"/>
            <a:chExt cx="1613090" cy="1445278"/>
          </a:xfrm>
        </p:grpSpPr>
        <p:pic>
          <p:nvPicPr>
            <p:cNvPr id="58" name="그래픽 57" descr="문서 윤곽선">
              <a:extLst>
                <a:ext uri="{FF2B5EF4-FFF2-40B4-BE49-F238E27FC236}">
                  <a16:creationId xmlns:a16="http://schemas.microsoft.com/office/drawing/2014/main" id="{061A8F3B-13CB-D10A-D8B1-189F6842E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849780" y="1221611"/>
              <a:ext cx="914400" cy="914400"/>
            </a:xfrm>
            <a:prstGeom prst="rect">
              <a:avLst/>
            </a:prstGeom>
          </p:spPr>
        </p:pic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A89E0C32-897C-988E-C36C-68E405F2E731}"/>
                </a:ext>
              </a:extLst>
            </p:cNvPr>
            <p:cNvSpPr/>
            <p:nvPr/>
          </p:nvSpPr>
          <p:spPr>
            <a:xfrm>
              <a:off x="4026329" y="1866786"/>
              <a:ext cx="628866" cy="3907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1" name="직사각형 60">
              <a:extLst>
                <a:ext uri="{FF2B5EF4-FFF2-40B4-BE49-F238E27FC236}">
                  <a16:creationId xmlns:a16="http://schemas.microsoft.com/office/drawing/2014/main" id="{634915C8-AB61-5D06-BDAF-5C333CEE6417}"/>
                </a:ext>
              </a:extLst>
            </p:cNvPr>
            <p:cNvSpPr/>
            <p:nvPr/>
          </p:nvSpPr>
          <p:spPr>
            <a:xfrm>
              <a:off x="4462855" y="1250248"/>
              <a:ext cx="628866" cy="6678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90AED177-0567-423B-4689-67BDD9F4688B}"/>
                </a:ext>
              </a:extLst>
            </p:cNvPr>
            <p:cNvSpPr/>
            <p:nvPr/>
          </p:nvSpPr>
          <p:spPr>
            <a:xfrm>
              <a:off x="3478631" y="1432330"/>
              <a:ext cx="628866" cy="6678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FEEC2A1F-59B2-BCBF-E4F5-A44BB2E439CF}"/>
                </a:ext>
              </a:extLst>
            </p:cNvPr>
            <p:cNvSpPr/>
            <p:nvPr/>
          </p:nvSpPr>
          <p:spPr>
            <a:xfrm>
              <a:off x="3769751" y="812250"/>
              <a:ext cx="1103886" cy="752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67" name="그림 66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F1F868D1-5BE5-5CAD-F96E-B659C34C4CF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43563" b="36562"/>
          <a:stretch/>
        </p:blipFill>
        <p:spPr>
          <a:xfrm>
            <a:off x="7269696" y="7307955"/>
            <a:ext cx="296562" cy="150023"/>
          </a:xfrm>
          <a:prstGeom prst="rect">
            <a:avLst/>
          </a:prstGeom>
        </p:spPr>
      </p:pic>
      <p:pic>
        <p:nvPicPr>
          <p:cNvPr id="1026" name="Picture 2" descr="Pdf - 무료 파일 및 폴더개 아이콘">
            <a:extLst>
              <a:ext uri="{FF2B5EF4-FFF2-40B4-BE49-F238E27FC236}">
                <a16:creationId xmlns:a16="http://schemas.microsoft.com/office/drawing/2014/main" id="{31BEEB2D-6080-B5F5-4F37-5E27D3AF1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537" y="1409323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517A8AFC-952B-5E9A-8346-8B14F07F61E1}"/>
              </a:ext>
            </a:extLst>
          </p:cNvPr>
          <p:cNvSpPr txBox="1"/>
          <p:nvPr/>
        </p:nvSpPr>
        <p:spPr>
          <a:xfrm>
            <a:off x="613487" y="2317109"/>
            <a:ext cx="7360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설계 도면</a:t>
            </a:r>
          </a:p>
        </p:txBody>
      </p:sp>
      <p:pic>
        <p:nvPicPr>
          <p:cNvPr id="70" name="그래픽 69" descr="문서 윤곽선">
            <a:extLst>
              <a:ext uri="{FF2B5EF4-FFF2-40B4-BE49-F238E27FC236}">
                <a16:creationId xmlns:a16="http://schemas.microsoft.com/office/drawing/2014/main" id="{63759C22-5E5E-81CB-9704-880B0ADF45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05927" y="1319028"/>
            <a:ext cx="914400" cy="914400"/>
          </a:xfrm>
          <a:prstGeom prst="rect">
            <a:avLst/>
          </a:prstGeom>
        </p:spPr>
      </p:pic>
      <p:pic>
        <p:nvPicPr>
          <p:cNvPr id="71" name="그래픽 70" descr="돋보기 윤곽선">
            <a:extLst>
              <a:ext uri="{FF2B5EF4-FFF2-40B4-BE49-F238E27FC236}">
                <a16:creationId xmlns:a16="http://schemas.microsoft.com/office/drawing/2014/main" id="{DE0A0379-F402-8767-31D3-C10407E2A71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 rot="20664542">
            <a:off x="2486234" y="1268360"/>
            <a:ext cx="720000" cy="720000"/>
          </a:xfrm>
          <a:prstGeom prst="rect">
            <a:avLst/>
          </a:prstGeom>
        </p:spPr>
      </p:pic>
      <p:pic>
        <p:nvPicPr>
          <p:cNvPr id="72" name="그림 71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E51E8A7A-8BC1-F2E9-B322-3B4B87ECFAB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2624263" y="1486015"/>
            <a:ext cx="267362" cy="19847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D4657EB4-2102-81A6-8190-187A4C42DEB7}"/>
              </a:ext>
            </a:extLst>
          </p:cNvPr>
          <p:cNvSpPr txBox="1"/>
          <p:nvPr/>
        </p:nvSpPr>
        <p:spPr>
          <a:xfrm>
            <a:off x="2203796" y="2244291"/>
            <a:ext cx="8659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추출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0823D84-615E-0FF0-5FF5-182BBA311BBE}"/>
              </a:ext>
            </a:extLst>
          </p:cNvPr>
          <p:cNvSpPr txBox="1"/>
          <p:nvPr/>
        </p:nvSpPr>
        <p:spPr>
          <a:xfrm>
            <a:off x="3889808" y="2271369"/>
            <a:ext cx="14798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매칭 및 정리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arameter, IO List 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28" name="Picture 4" descr="작업 영역 지원 컬렉션에서 Excel 아이콘 벡터입니다 얇은 라인 엑셀 개요 아이콘 벡터 일러스트 레이 션입니다 웹 사이트 디자인 및  모바일 앱 개발을 위한 개요 얇은 라인 엑셀 아이콘 아이콘에 대한 스톡">
            <a:extLst>
              <a:ext uri="{FF2B5EF4-FFF2-40B4-BE49-F238E27FC236}">
                <a16:creationId xmlns:a16="http://schemas.microsoft.com/office/drawing/2014/main" id="{15BAD69C-6AD7-B1C7-1A36-E52E10DFD1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899" t="16199" r="27284" b="34688"/>
          <a:stretch/>
        </p:blipFill>
        <p:spPr bwMode="auto">
          <a:xfrm>
            <a:off x="1860491" y="6615663"/>
            <a:ext cx="917622" cy="105253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XLS 문서 다운로드 아이콘 벡터 템플릿 | 프리미엄 벡터">
            <a:extLst>
              <a:ext uri="{FF2B5EF4-FFF2-40B4-BE49-F238E27FC236}">
                <a16:creationId xmlns:a16="http://schemas.microsoft.com/office/drawing/2014/main" id="{171FD25A-A878-1A6F-04C3-E79CB7AFD2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4" t="24305" r="23612" b="23519"/>
          <a:stretch/>
        </p:blipFill>
        <p:spPr bwMode="auto">
          <a:xfrm>
            <a:off x="3963863" y="1322148"/>
            <a:ext cx="828000" cy="84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화살표: 오른쪽 38">
            <a:extLst>
              <a:ext uri="{FF2B5EF4-FFF2-40B4-BE49-F238E27FC236}">
                <a16:creationId xmlns:a16="http://schemas.microsoft.com/office/drawing/2014/main" id="{7B2B41D0-57EB-3D1C-6C53-990AAB20CED4}"/>
              </a:ext>
            </a:extLst>
          </p:cNvPr>
          <p:cNvSpPr/>
          <p:nvPr/>
        </p:nvSpPr>
        <p:spPr>
          <a:xfrm>
            <a:off x="1643270" y="1768921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화살표: 오른쪽 40">
            <a:extLst>
              <a:ext uri="{FF2B5EF4-FFF2-40B4-BE49-F238E27FC236}">
                <a16:creationId xmlns:a16="http://schemas.microsoft.com/office/drawing/2014/main" id="{3E4077AE-A4F0-5D9E-5C32-5AE0597301A1}"/>
              </a:ext>
            </a:extLst>
          </p:cNvPr>
          <p:cNvSpPr/>
          <p:nvPr/>
        </p:nvSpPr>
        <p:spPr>
          <a:xfrm>
            <a:off x="3452849" y="1776228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071F0EC3-9354-4A79-5673-54486006E3DE}"/>
              </a:ext>
            </a:extLst>
          </p:cNvPr>
          <p:cNvSpPr/>
          <p:nvPr/>
        </p:nvSpPr>
        <p:spPr>
          <a:xfrm>
            <a:off x="191516" y="1047564"/>
            <a:ext cx="5389123" cy="192092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C7529916-2721-01D8-AA3A-DE4124D8963B}"/>
              </a:ext>
            </a:extLst>
          </p:cNvPr>
          <p:cNvSpPr/>
          <p:nvPr/>
        </p:nvSpPr>
        <p:spPr>
          <a:xfrm>
            <a:off x="191516" y="3190362"/>
            <a:ext cx="5389123" cy="3318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CCE06D76-6351-72CD-25CC-A1D1DC3185CD}"/>
              </a:ext>
            </a:extLst>
          </p:cNvPr>
          <p:cNvSpPr/>
          <p:nvPr/>
        </p:nvSpPr>
        <p:spPr>
          <a:xfrm>
            <a:off x="377687" y="3330246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81" name="그래픽 80" descr="신문 윤곽선">
            <a:extLst>
              <a:ext uri="{FF2B5EF4-FFF2-40B4-BE49-F238E27FC236}">
                <a16:creationId xmlns:a16="http://schemas.microsoft.com/office/drawing/2014/main" id="{2D42E286-A564-E13E-CADF-A107B127B05B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683547" y="5046649"/>
            <a:ext cx="1621974" cy="1621974"/>
          </a:xfrm>
          <a:prstGeom prst="rect">
            <a:avLst/>
          </a:prstGeom>
        </p:spPr>
      </p:pic>
      <p:sp>
        <p:nvSpPr>
          <p:cNvPr id="82" name="직사각형 81">
            <a:extLst>
              <a:ext uri="{FF2B5EF4-FFF2-40B4-BE49-F238E27FC236}">
                <a16:creationId xmlns:a16="http://schemas.microsoft.com/office/drawing/2014/main" id="{2C518245-ABAF-FC39-C8CE-9E5D2DD0890C}"/>
              </a:ext>
            </a:extLst>
          </p:cNvPr>
          <p:cNvSpPr/>
          <p:nvPr/>
        </p:nvSpPr>
        <p:spPr>
          <a:xfrm>
            <a:off x="875303" y="4308463"/>
            <a:ext cx="422818" cy="152414"/>
          </a:xfrm>
          <a:prstGeom prst="rect">
            <a:avLst/>
          </a:prstGeom>
          <a:noFill/>
          <a:ln w="2857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F59B1B06-8F5D-FF4A-2861-D3862D070F6B}"/>
              </a:ext>
            </a:extLst>
          </p:cNvPr>
          <p:cNvSpPr/>
          <p:nvPr/>
        </p:nvSpPr>
        <p:spPr>
          <a:xfrm>
            <a:off x="904574" y="4503124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9F5F8D3-6666-161D-AA9E-231695B5FE34}"/>
              </a:ext>
            </a:extLst>
          </p:cNvPr>
          <p:cNvSpPr/>
          <p:nvPr/>
        </p:nvSpPr>
        <p:spPr>
          <a:xfrm>
            <a:off x="926345" y="4826973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D6056993-5845-0240-7567-50D13156F96D}"/>
              </a:ext>
            </a:extLst>
          </p:cNvPr>
          <p:cNvSpPr/>
          <p:nvPr/>
        </p:nvSpPr>
        <p:spPr>
          <a:xfrm>
            <a:off x="909443" y="4540547"/>
            <a:ext cx="634428" cy="298290"/>
          </a:xfrm>
          <a:prstGeom prst="rect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87240D88-1977-CBBB-2994-AF3D698766A5}"/>
              </a:ext>
            </a:extLst>
          </p:cNvPr>
          <p:cNvSpPr/>
          <p:nvPr/>
        </p:nvSpPr>
        <p:spPr>
          <a:xfrm>
            <a:off x="885945" y="4916901"/>
            <a:ext cx="682991" cy="159378"/>
          </a:xfrm>
          <a:prstGeom prst="rect">
            <a:avLst/>
          </a:prstGeom>
          <a:noFill/>
          <a:ln w="2857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94351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그래픽 83" descr="문서 윤곽선">
            <a:extLst>
              <a:ext uri="{FF2B5EF4-FFF2-40B4-BE49-F238E27FC236}">
                <a16:creationId xmlns:a16="http://schemas.microsoft.com/office/drawing/2014/main" id="{08C883F5-6A63-3D7A-AE55-42697EEFE0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06802" y="3799876"/>
            <a:ext cx="1448679" cy="1448679"/>
          </a:xfrm>
          <a:prstGeom prst="rect">
            <a:avLst/>
          </a:prstGeom>
        </p:spPr>
      </p:pic>
      <p:pic>
        <p:nvPicPr>
          <p:cNvPr id="1026" name="Picture 2" descr="Pdf - 무료 파일 및 폴더개 아이콘">
            <a:extLst>
              <a:ext uri="{FF2B5EF4-FFF2-40B4-BE49-F238E27FC236}">
                <a16:creationId xmlns:a16="http://schemas.microsoft.com/office/drawing/2014/main" id="{31BEEB2D-6080-B5F5-4F37-5E27D3AF1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0021" y="1344008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517A8AFC-952B-5E9A-8346-8B14F07F61E1}"/>
              </a:ext>
            </a:extLst>
          </p:cNvPr>
          <p:cNvSpPr txBox="1"/>
          <p:nvPr/>
        </p:nvSpPr>
        <p:spPr>
          <a:xfrm>
            <a:off x="6517971" y="2251794"/>
            <a:ext cx="7360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설계 도면</a:t>
            </a:r>
          </a:p>
        </p:txBody>
      </p:sp>
      <p:pic>
        <p:nvPicPr>
          <p:cNvPr id="70" name="그래픽 69" descr="문서 윤곽선">
            <a:extLst>
              <a:ext uri="{FF2B5EF4-FFF2-40B4-BE49-F238E27FC236}">
                <a16:creationId xmlns:a16="http://schemas.microsoft.com/office/drawing/2014/main" id="{63759C22-5E5E-81CB-9704-880B0ADF45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10411" y="1253713"/>
            <a:ext cx="914400" cy="914400"/>
          </a:xfrm>
          <a:prstGeom prst="rect">
            <a:avLst/>
          </a:prstGeom>
        </p:spPr>
      </p:pic>
      <p:pic>
        <p:nvPicPr>
          <p:cNvPr id="71" name="그래픽 70" descr="돋보기 윤곽선">
            <a:extLst>
              <a:ext uri="{FF2B5EF4-FFF2-40B4-BE49-F238E27FC236}">
                <a16:creationId xmlns:a16="http://schemas.microsoft.com/office/drawing/2014/main" id="{DE0A0379-F402-8767-31D3-C10407E2A7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20664542">
            <a:off x="8390718" y="1203045"/>
            <a:ext cx="720000" cy="720000"/>
          </a:xfrm>
          <a:prstGeom prst="rect">
            <a:avLst/>
          </a:prstGeom>
        </p:spPr>
      </p:pic>
      <p:pic>
        <p:nvPicPr>
          <p:cNvPr id="72" name="그림 71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E51E8A7A-8BC1-F2E9-B322-3B4B87ECFA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8528747" y="1420700"/>
            <a:ext cx="267362" cy="19847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D4657EB4-2102-81A6-8190-187A4C42DEB7}"/>
              </a:ext>
            </a:extLst>
          </p:cNvPr>
          <p:cNvSpPr txBox="1"/>
          <p:nvPr/>
        </p:nvSpPr>
        <p:spPr>
          <a:xfrm>
            <a:off x="8108280" y="2178976"/>
            <a:ext cx="8659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추출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0823D84-615E-0FF0-5FF5-182BBA311BBE}"/>
              </a:ext>
            </a:extLst>
          </p:cNvPr>
          <p:cNvSpPr txBox="1"/>
          <p:nvPr/>
        </p:nvSpPr>
        <p:spPr>
          <a:xfrm>
            <a:off x="9794292" y="2206054"/>
            <a:ext cx="14798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매칭 및 정리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arameter, IO List 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30" name="Picture 6" descr="XLS 문서 다운로드 아이콘 벡터 템플릿 | 프리미엄 벡터">
            <a:extLst>
              <a:ext uri="{FF2B5EF4-FFF2-40B4-BE49-F238E27FC236}">
                <a16:creationId xmlns:a16="http://schemas.microsoft.com/office/drawing/2014/main" id="{171FD25A-A878-1A6F-04C3-E79CB7AFD2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4" t="24305" r="23612" b="23519"/>
          <a:stretch/>
        </p:blipFill>
        <p:spPr bwMode="auto">
          <a:xfrm>
            <a:off x="9868347" y="1256833"/>
            <a:ext cx="828000" cy="84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화살표: 오른쪽 38">
            <a:extLst>
              <a:ext uri="{FF2B5EF4-FFF2-40B4-BE49-F238E27FC236}">
                <a16:creationId xmlns:a16="http://schemas.microsoft.com/office/drawing/2014/main" id="{7B2B41D0-57EB-3D1C-6C53-990AAB20CED4}"/>
              </a:ext>
            </a:extLst>
          </p:cNvPr>
          <p:cNvSpPr/>
          <p:nvPr/>
        </p:nvSpPr>
        <p:spPr>
          <a:xfrm>
            <a:off x="7547754" y="1703606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화살표: 오른쪽 40">
            <a:extLst>
              <a:ext uri="{FF2B5EF4-FFF2-40B4-BE49-F238E27FC236}">
                <a16:creationId xmlns:a16="http://schemas.microsoft.com/office/drawing/2014/main" id="{3E4077AE-A4F0-5D9E-5C32-5AE0597301A1}"/>
              </a:ext>
            </a:extLst>
          </p:cNvPr>
          <p:cNvSpPr/>
          <p:nvPr/>
        </p:nvSpPr>
        <p:spPr>
          <a:xfrm>
            <a:off x="9357333" y="1710913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071F0EC3-9354-4A79-5673-54486006E3DE}"/>
              </a:ext>
            </a:extLst>
          </p:cNvPr>
          <p:cNvSpPr/>
          <p:nvPr/>
        </p:nvSpPr>
        <p:spPr>
          <a:xfrm>
            <a:off x="6096000" y="982249"/>
            <a:ext cx="5389123" cy="192092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C7529916-2721-01D8-AA3A-DE4124D8963B}"/>
              </a:ext>
            </a:extLst>
          </p:cNvPr>
          <p:cNvSpPr/>
          <p:nvPr/>
        </p:nvSpPr>
        <p:spPr>
          <a:xfrm>
            <a:off x="6096000" y="3125047"/>
            <a:ext cx="5389123" cy="3318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CCE06D76-6351-72CD-25CC-A1D1DC3185CD}"/>
              </a:ext>
            </a:extLst>
          </p:cNvPr>
          <p:cNvSpPr/>
          <p:nvPr/>
        </p:nvSpPr>
        <p:spPr>
          <a:xfrm>
            <a:off x="6282171" y="3264931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2C518245-ABAF-FC39-C8CE-9E5D2DD0890C}"/>
              </a:ext>
            </a:extLst>
          </p:cNvPr>
          <p:cNvSpPr/>
          <p:nvPr/>
        </p:nvSpPr>
        <p:spPr>
          <a:xfrm>
            <a:off x="6779787" y="4243148"/>
            <a:ext cx="422818" cy="15241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F59B1B06-8F5D-FF4A-2861-D3862D070F6B}"/>
              </a:ext>
            </a:extLst>
          </p:cNvPr>
          <p:cNvSpPr/>
          <p:nvPr/>
        </p:nvSpPr>
        <p:spPr>
          <a:xfrm>
            <a:off x="6809058" y="4437809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9F5F8D3-6666-161D-AA9E-231695B5FE34}"/>
              </a:ext>
            </a:extLst>
          </p:cNvPr>
          <p:cNvSpPr/>
          <p:nvPr/>
        </p:nvSpPr>
        <p:spPr>
          <a:xfrm>
            <a:off x="6830829" y="4761658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D6056993-5845-0240-7567-50D13156F96D}"/>
              </a:ext>
            </a:extLst>
          </p:cNvPr>
          <p:cNvSpPr/>
          <p:nvPr/>
        </p:nvSpPr>
        <p:spPr>
          <a:xfrm>
            <a:off x="6813927" y="4475232"/>
            <a:ext cx="634428" cy="298290"/>
          </a:xfrm>
          <a:prstGeom prst="rect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87240D88-1977-CBBB-2994-AF3D698766A5}"/>
              </a:ext>
            </a:extLst>
          </p:cNvPr>
          <p:cNvSpPr/>
          <p:nvPr/>
        </p:nvSpPr>
        <p:spPr>
          <a:xfrm>
            <a:off x="6790429" y="4851586"/>
            <a:ext cx="682991" cy="159378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E3930F45-139F-4B1D-4274-6CBA664A4FBD}"/>
              </a:ext>
            </a:extLst>
          </p:cNvPr>
          <p:cNvSpPr/>
          <p:nvPr/>
        </p:nvSpPr>
        <p:spPr>
          <a:xfrm>
            <a:off x="6763429" y="4219843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323C4C9A-1A4B-C1DC-4E9D-F9C154170E85}"/>
              </a:ext>
            </a:extLst>
          </p:cNvPr>
          <p:cNvSpPr/>
          <p:nvPr/>
        </p:nvSpPr>
        <p:spPr>
          <a:xfrm>
            <a:off x="6760709" y="4355914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4654D5DC-C12E-62B3-A47A-D6E88F4FE763}"/>
              </a:ext>
            </a:extLst>
          </p:cNvPr>
          <p:cNvSpPr/>
          <p:nvPr/>
        </p:nvSpPr>
        <p:spPr>
          <a:xfrm>
            <a:off x="7166200" y="4369521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6338BB17-B3C7-C9D6-B092-7103EEAB1608}"/>
              </a:ext>
            </a:extLst>
          </p:cNvPr>
          <p:cNvSpPr/>
          <p:nvPr/>
        </p:nvSpPr>
        <p:spPr>
          <a:xfrm>
            <a:off x="7179808" y="4211679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BC5A3283-0561-60AE-B49B-15BB5C8AE1E7}"/>
              </a:ext>
            </a:extLst>
          </p:cNvPr>
          <p:cNvSpPr/>
          <p:nvPr/>
        </p:nvSpPr>
        <p:spPr>
          <a:xfrm>
            <a:off x="7441065" y="481583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38B7BD7B-285D-C51B-8763-AF07F6039781}"/>
              </a:ext>
            </a:extLst>
          </p:cNvPr>
          <p:cNvSpPr/>
          <p:nvPr/>
        </p:nvSpPr>
        <p:spPr>
          <a:xfrm>
            <a:off x="6771594" y="4832162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CB11AA58-0910-81FB-8378-3C95D379B26B}"/>
              </a:ext>
            </a:extLst>
          </p:cNvPr>
          <p:cNvSpPr/>
          <p:nvPr/>
        </p:nvSpPr>
        <p:spPr>
          <a:xfrm>
            <a:off x="7441062" y="497095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402BE596-FA06-49BA-52D2-224048C00EC8}"/>
              </a:ext>
            </a:extLst>
          </p:cNvPr>
          <p:cNvSpPr/>
          <p:nvPr/>
        </p:nvSpPr>
        <p:spPr>
          <a:xfrm>
            <a:off x="6771594" y="4979120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B2400E6-C600-9AD9-F479-7276EA02D10E}"/>
              </a:ext>
            </a:extLst>
          </p:cNvPr>
          <p:cNvSpPr txBox="1"/>
          <p:nvPr/>
        </p:nvSpPr>
        <p:spPr>
          <a:xfrm>
            <a:off x="6267583" y="5370796"/>
            <a:ext cx="2811988" cy="13350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감지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Detection):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ifferentiable Binarization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모델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미지에서 텍스트가 포함된 영역 식별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대규모 이미지 데이터셋으로 훈련된 모델 사용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주로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CNN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기반 모델 사용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233E4FC3-3135-AB46-CA1F-08B6725C1A7A}"/>
              </a:ext>
            </a:extLst>
          </p:cNvPr>
          <p:cNvSpPr/>
          <p:nvPr/>
        </p:nvSpPr>
        <p:spPr>
          <a:xfrm>
            <a:off x="9288607" y="3969353"/>
            <a:ext cx="1415904" cy="12792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9" name="화살표: 오른쪽 58">
            <a:extLst>
              <a:ext uri="{FF2B5EF4-FFF2-40B4-BE49-F238E27FC236}">
                <a16:creationId xmlns:a16="http://schemas.microsoft.com/office/drawing/2014/main" id="{AB98208F-984A-6659-2C83-8001AE263A43}"/>
              </a:ext>
            </a:extLst>
          </p:cNvPr>
          <p:cNvSpPr/>
          <p:nvPr/>
        </p:nvSpPr>
        <p:spPr>
          <a:xfrm>
            <a:off x="7764975" y="4191944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화살표: 오른쪽 64">
            <a:extLst>
              <a:ext uri="{FF2B5EF4-FFF2-40B4-BE49-F238E27FC236}">
                <a16:creationId xmlns:a16="http://schemas.microsoft.com/office/drawing/2014/main" id="{E4044E66-BAF3-EF60-351B-FA4F565E8728}"/>
              </a:ext>
            </a:extLst>
          </p:cNvPr>
          <p:cNvSpPr/>
          <p:nvPr/>
        </p:nvSpPr>
        <p:spPr>
          <a:xfrm>
            <a:off x="7764975" y="4850279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239597EB-E00C-114A-2382-1C11678F362C}"/>
              </a:ext>
            </a:extLst>
          </p:cNvPr>
          <p:cNvSpPr/>
          <p:nvPr/>
        </p:nvSpPr>
        <p:spPr>
          <a:xfrm>
            <a:off x="9406455" y="4096191"/>
            <a:ext cx="511366" cy="313723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CS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65815E22-DCF9-7F31-427B-9B37F662F13F}"/>
              </a:ext>
            </a:extLst>
          </p:cNvPr>
          <p:cNvSpPr/>
          <p:nvPr/>
        </p:nvSpPr>
        <p:spPr>
          <a:xfrm>
            <a:off x="9397460" y="4737573"/>
            <a:ext cx="1168831" cy="32820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MAA11CT009B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73B300E-C11F-1EA1-E1AD-A46BEB72645C}"/>
              </a:ext>
            </a:extLst>
          </p:cNvPr>
          <p:cNvSpPr txBox="1"/>
          <p:nvPr/>
        </p:nvSpPr>
        <p:spPr>
          <a:xfrm>
            <a:off x="9172159" y="5351674"/>
            <a:ext cx="2228495" cy="10811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인식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Recognition):</a:t>
            </a:r>
          </a:p>
          <a:p>
            <a:pPr>
              <a:lnSpc>
                <a:spcPct val="150000"/>
              </a:lnSpc>
            </a:pPr>
            <a:r>
              <a:rPr lang="en-US" altLang="ko-KR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SVTR_LCNet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모델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이미지를 문자열로 변환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다양한 폰트와 스타일 해석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6" name="Rectangle 3">
            <a:extLst>
              <a:ext uri="{FF2B5EF4-FFF2-40B4-BE49-F238E27FC236}">
                <a16:creationId xmlns:a16="http://schemas.microsoft.com/office/drawing/2014/main" id="{948029F7-59F1-4159-9867-167FD4FE648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00" y="852254"/>
            <a:ext cx="87979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2pPr marL="1587" lvl="1" algn="l" defTabSz="936625" eaLnBrk="0" hangingPunct="0">
              <a:spcBef>
                <a:spcPts val="300"/>
              </a:spcBef>
              <a:spcAft>
                <a:spcPts val="100"/>
              </a:spcAft>
              <a:defRPr kumimoji="1" sz="1600" i="0">
                <a:solidFill>
                  <a:schemeClr val="tx1"/>
                </a:solidFill>
                <a:latin typeface="Noto Sans CJK KR Regular" pitchFamily="34" charset="-127"/>
                <a:ea typeface="Noto Sans CJK KR Regular" pitchFamily="34" charset="-127"/>
              </a:defRPr>
            </a:lvl2pPr>
          </a:lstStyle>
          <a:p>
            <a:pPr lvl="1"/>
            <a:r>
              <a:rPr lang="ko-KR" altLang="en-US" dirty="0" err="1">
                <a:sym typeface="Noto Sans CJK KR Regular"/>
              </a:rPr>
              <a:t>로보틱스</a:t>
            </a:r>
            <a:r>
              <a:rPr lang="ko-KR" altLang="en-US" dirty="0">
                <a:sym typeface="Noto Sans CJK KR Regular"/>
              </a:rPr>
              <a:t> </a:t>
            </a:r>
            <a:r>
              <a:rPr lang="en-US" altLang="ko-KR" dirty="0">
                <a:sym typeface="Noto Sans CJK KR Regular"/>
              </a:rPr>
              <a:t>RMS Data </a:t>
            </a:r>
            <a:r>
              <a:rPr lang="ko-KR" altLang="en-US" dirty="0">
                <a:sym typeface="Noto Sans CJK KR Regular"/>
              </a:rPr>
              <a:t>분석을 위한 두산중공업에서 개발한 고장예측진단기술 활용 가능성 확인 목적</a:t>
            </a:r>
            <a:endParaRPr lang="en-US" altLang="ko-KR" dirty="0">
              <a:sym typeface="Noto Sans CJK KR Regular"/>
            </a:endParaRPr>
          </a:p>
        </p:txBody>
      </p:sp>
      <p:sp>
        <p:nvSpPr>
          <p:cNvPr id="77" name="제목 2">
            <a:extLst>
              <a:ext uri="{FF2B5EF4-FFF2-40B4-BE49-F238E27FC236}">
                <a16:creationId xmlns:a16="http://schemas.microsoft.com/office/drawing/2014/main" id="{D75C6EDB-5F9C-27F9-BCF2-57EB8B03EABA}"/>
              </a:ext>
            </a:extLst>
          </p:cNvPr>
          <p:cNvSpPr txBox="1">
            <a:spLocks/>
          </p:cNvSpPr>
          <p:nvPr/>
        </p:nvSpPr>
        <p:spPr bwMode="auto">
          <a:xfrm>
            <a:off x="533400" y="247123"/>
            <a:ext cx="355170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0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0000"/>
                </a:solidFill>
                <a:latin typeface="Noto Sans CJK KR Bold" pitchFamily="34" charset="-127"/>
                <a:ea typeface="Noto Sans CJK KR Bold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116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22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344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45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ko-KR" altLang="en-US" i="0" kern="0" dirty="0"/>
              <a:t>두산 </a:t>
            </a:r>
            <a:r>
              <a:rPr lang="ko-KR" altLang="en-US" i="0" kern="0" dirty="0" err="1"/>
              <a:t>로보틱스</a:t>
            </a:r>
            <a:r>
              <a:rPr lang="ko-KR" altLang="en-US" i="0" kern="0" dirty="0"/>
              <a:t> </a:t>
            </a:r>
            <a:r>
              <a:rPr lang="en-US" altLang="ko-KR" i="0" kern="0" dirty="0"/>
              <a:t>RMS Data </a:t>
            </a:r>
            <a:r>
              <a:rPr lang="ko-KR" altLang="en-US" i="0" kern="0" dirty="0"/>
              <a:t>분석</a:t>
            </a:r>
            <a:r>
              <a:rPr lang="en-US" altLang="ko-KR" i="0" kern="0" dirty="0"/>
              <a:t> </a:t>
            </a:r>
            <a:endParaRPr lang="ko-KR" altLang="en-US" i="0" kern="0" dirty="0"/>
          </a:p>
        </p:txBody>
      </p:sp>
    </p:spTree>
    <p:extLst>
      <p:ext uri="{BB962C8B-B14F-4D97-AF65-F5344CB8AC3E}">
        <p14:creationId xmlns:p14="http://schemas.microsoft.com/office/powerpoint/2010/main" val="27789215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그래픽 83" descr="문서 윤곽선">
            <a:extLst>
              <a:ext uri="{FF2B5EF4-FFF2-40B4-BE49-F238E27FC236}">
                <a16:creationId xmlns:a16="http://schemas.microsoft.com/office/drawing/2014/main" id="{08C883F5-6A63-3D7A-AE55-42697EEFE0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80281" y="4003981"/>
            <a:ext cx="1448679" cy="1448679"/>
          </a:xfrm>
          <a:prstGeom prst="rect">
            <a:avLst/>
          </a:prstGeom>
        </p:spPr>
      </p:pic>
      <p:pic>
        <p:nvPicPr>
          <p:cNvPr id="1026" name="Picture 2" descr="Pdf - 무료 파일 및 폴더개 아이콘">
            <a:extLst>
              <a:ext uri="{FF2B5EF4-FFF2-40B4-BE49-F238E27FC236}">
                <a16:creationId xmlns:a16="http://schemas.microsoft.com/office/drawing/2014/main" id="{31BEEB2D-6080-B5F5-4F37-5E27D3AF1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3500" y="1548113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517A8AFC-952B-5E9A-8346-8B14F07F61E1}"/>
              </a:ext>
            </a:extLst>
          </p:cNvPr>
          <p:cNvSpPr txBox="1"/>
          <p:nvPr/>
        </p:nvSpPr>
        <p:spPr>
          <a:xfrm>
            <a:off x="6591450" y="2455899"/>
            <a:ext cx="7200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&amp;C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도면</a:t>
            </a:r>
          </a:p>
        </p:txBody>
      </p:sp>
      <p:pic>
        <p:nvPicPr>
          <p:cNvPr id="70" name="그래픽 69" descr="문서 윤곽선">
            <a:extLst>
              <a:ext uri="{FF2B5EF4-FFF2-40B4-BE49-F238E27FC236}">
                <a16:creationId xmlns:a16="http://schemas.microsoft.com/office/drawing/2014/main" id="{63759C22-5E5E-81CB-9704-880B0ADF45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083890" y="1457818"/>
            <a:ext cx="914400" cy="914400"/>
          </a:xfrm>
          <a:prstGeom prst="rect">
            <a:avLst/>
          </a:prstGeom>
        </p:spPr>
      </p:pic>
      <p:pic>
        <p:nvPicPr>
          <p:cNvPr id="71" name="그래픽 70" descr="돋보기 윤곽선">
            <a:extLst>
              <a:ext uri="{FF2B5EF4-FFF2-40B4-BE49-F238E27FC236}">
                <a16:creationId xmlns:a16="http://schemas.microsoft.com/office/drawing/2014/main" id="{DE0A0379-F402-8767-31D3-C10407E2A71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0664542">
            <a:off x="8464197" y="1407150"/>
            <a:ext cx="720000" cy="720000"/>
          </a:xfrm>
          <a:prstGeom prst="rect">
            <a:avLst/>
          </a:prstGeom>
        </p:spPr>
      </p:pic>
      <p:pic>
        <p:nvPicPr>
          <p:cNvPr id="72" name="그림 71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E51E8A7A-8BC1-F2E9-B322-3B4B87ECFAB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8602226" y="1624805"/>
            <a:ext cx="267362" cy="19847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D4657EB4-2102-81A6-8190-187A4C42DEB7}"/>
              </a:ext>
            </a:extLst>
          </p:cNvPr>
          <p:cNvSpPr txBox="1"/>
          <p:nvPr/>
        </p:nvSpPr>
        <p:spPr>
          <a:xfrm>
            <a:off x="8181759" y="2383081"/>
            <a:ext cx="8659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추출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0823D84-615E-0FF0-5FF5-182BBA311BBE}"/>
              </a:ext>
            </a:extLst>
          </p:cNvPr>
          <p:cNvSpPr txBox="1"/>
          <p:nvPr/>
        </p:nvSpPr>
        <p:spPr>
          <a:xfrm>
            <a:off x="9867771" y="2410159"/>
            <a:ext cx="14798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매칭 및 정리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arameter, IO List 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30" name="Picture 6" descr="XLS 문서 다운로드 아이콘 벡터 템플릿 | 프리미엄 벡터">
            <a:extLst>
              <a:ext uri="{FF2B5EF4-FFF2-40B4-BE49-F238E27FC236}">
                <a16:creationId xmlns:a16="http://schemas.microsoft.com/office/drawing/2014/main" id="{171FD25A-A878-1A6F-04C3-E79CB7AFD2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4" t="24305" r="23612" b="23519"/>
          <a:stretch/>
        </p:blipFill>
        <p:spPr bwMode="auto">
          <a:xfrm>
            <a:off x="9941826" y="1460938"/>
            <a:ext cx="828000" cy="84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화살표: 오른쪽 38">
            <a:extLst>
              <a:ext uri="{FF2B5EF4-FFF2-40B4-BE49-F238E27FC236}">
                <a16:creationId xmlns:a16="http://schemas.microsoft.com/office/drawing/2014/main" id="{7B2B41D0-57EB-3D1C-6C53-990AAB20CED4}"/>
              </a:ext>
            </a:extLst>
          </p:cNvPr>
          <p:cNvSpPr/>
          <p:nvPr/>
        </p:nvSpPr>
        <p:spPr>
          <a:xfrm>
            <a:off x="7621233" y="1907711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화살표: 오른쪽 40">
            <a:extLst>
              <a:ext uri="{FF2B5EF4-FFF2-40B4-BE49-F238E27FC236}">
                <a16:creationId xmlns:a16="http://schemas.microsoft.com/office/drawing/2014/main" id="{3E4077AE-A4F0-5D9E-5C32-5AE0597301A1}"/>
              </a:ext>
            </a:extLst>
          </p:cNvPr>
          <p:cNvSpPr/>
          <p:nvPr/>
        </p:nvSpPr>
        <p:spPr>
          <a:xfrm>
            <a:off x="9430812" y="1915018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071F0EC3-9354-4A79-5673-54486006E3DE}"/>
              </a:ext>
            </a:extLst>
          </p:cNvPr>
          <p:cNvSpPr/>
          <p:nvPr/>
        </p:nvSpPr>
        <p:spPr>
          <a:xfrm>
            <a:off x="6169479" y="1186354"/>
            <a:ext cx="5389123" cy="192092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C7529916-2721-01D8-AA3A-DE4124D8963B}"/>
              </a:ext>
            </a:extLst>
          </p:cNvPr>
          <p:cNvSpPr/>
          <p:nvPr/>
        </p:nvSpPr>
        <p:spPr>
          <a:xfrm>
            <a:off x="6169479" y="3329152"/>
            <a:ext cx="5389123" cy="3318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CCE06D76-6351-72CD-25CC-A1D1DC3185CD}"/>
              </a:ext>
            </a:extLst>
          </p:cNvPr>
          <p:cNvSpPr/>
          <p:nvPr/>
        </p:nvSpPr>
        <p:spPr>
          <a:xfrm>
            <a:off x="6355650" y="3469036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2C518245-ABAF-FC39-C8CE-9E5D2DD0890C}"/>
              </a:ext>
            </a:extLst>
          </p:cNvPr>
          <p:cNvSpPr/>
          <p:nvPr/>
        </p:nvSpPr>
        <p:spPr>
          <a:xfrm>
            <a:off x="6853266" y="4447253"/>
            <a:ext cx="422818" cy="15241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F59B1B06-8F5D-FF4A-2861-D3862D070F6B}"/>
              </a:ext>
            </a:extLst>
          </p:cNvPr>
          <p:cNvSpPr/>
          <p:nvPr/>
        </p:nvSpPr>
        <p:spPr>
          <a:xfrm>
            <a:off x="6882537" y="4641914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9F5F8D3-6666-161D-AA9E-231695B5FE34}"/>
              </a:ext>
            </a:extLst>
          </p:cNvPr>
          <p:cNvSpPr/>
          <p:nvPr/>
        </p:nvSpPr>
        <p:spPr>
          <a:xfrm>
            <a:off x="6904308" y="4965763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D6056993-5845-0240-7567-50D13156F96D}"/>
              </a:ext>
            </a:extLst>
          </p:cNvPr>
          <p:cNvSpPr/>
          <p:nvPr/>
        </p:nvSpPr>
        <p:spPr>
          <a:xfrm>
            <a:off x="6887406" y="4679337"/>
            <a:ext cx="634428" cy="298290"/>
          </a:xfrm>
          <a:prstGeom prst="rect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87240D88-1977-CBBB-2994-AF3D698766A5}"/>
              </a:ext>
            </a:extLst>
          </p:cNvPr>
          <p:cNvSpPr/>
          <p:nvPr/>
        </p:nvSpPr>
        <p:spPr>
          <a:xfrm>
            <a:off x="6863908" y="5055691"/>
            <a:ext cx="682991" cy="159378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E3930F45-139F-4B1D-4274-6CBA664A4FBD}"/>
              </a:ext>
            </a:extLst>
          </p:cNvPr>
          <p:cNvSpPr/>
          <p:nvPr/>
        </p:nvSpPr>
        <p:spPr>
          <a:xfrm>
            <a:off x="6836908" y="4423948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323C4C9A-1A4B-C1DC-4E9D-F9C154170E85}"/>
              </a:ext>
            </a:extLst>
          </p:cNvPr>
          <p:cNvSpPr/>
          <p:nvPr/>
        </p:nvSpPr>
        <p:spPr>
          <a:xfrm>
            <a:off x="6834188" y="4560019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4654D5DC-C12E-62B3-A47A-D6E88F4FE763}"/>
              </a:ext>
            </a:extLst>
          </p:cNvPr>
          <p:cNvSpPr/>
          <p:nvPr/>
        </p:nvSpPr>
        <p:spPr>
          <a:xfrm>
            <a:off x="7239679" y="4573626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6338BB17-B3C7-C9D6-B092-7103EEAB1608}"/>
              </a:ext>
            </a:extLst>
          </p:cNvPr>
          <p:cNvSpPr/>
          <p:nvPr/>
        </p:nvSpPr>
        <p:spPr>
          <a:xfrm>
            <a:off x="7253287" y="4415784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BC5A3283-0561-60AE-B49B-15BB5C8AE1E7}"/>
              </a:ext>
            </a:extLst>
          </p:cNvPr>
          <p:cNvSpPr/>
          <p:nvPr/>
        </p:nvSpPr>
        <p:spPr>
          <a:xfrm>
            <a:off x="7514544" y="5019940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38B7BD7B-285D-C51B-8763-AF07F6039781}"/>
              </a:ext>
            </a:extLst>
          </p:cNvPr>
          <p:cNvSpPr/>
          <p:nvPr/>
        </p:nvSpPr>
        <p:spPr>
          <a:xfrm>
            <a:off x="6845073" y="5036267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CB11AA58-0910-81FB-8378-3C95D379B26B}"/>
              </a:ext>
            </a:extLst>
          </p:cNvPr>
          <p:cNvSpPr/>
          <p:nvPr/>
        </p:nvSpPr>
        <p:spPr>
          <a:xfrm>
            <a:off x="7514541" y="5175060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402BE596-FA06-49BA-52D2-224048C00EC8}"/>
              </a:ext>
            </a:extLst>
          </p:cNvPr>
          <p:cNvSpPr/>
          <p:nvPr/>
        </p:nvSpPr>
        <p:spPr>
          <a:xfrm>
            <a:off x="6845073" y="518322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B2400E6-C600-9AD9-F479-7276EA02D10E}"/>
              </a:ext>
            </a:extLst>
          </p:cNvPr>
          <p:cNvSpPr txBox="1"/>
          <p:nvPr/>
        </p:nvSpPr>
        <p:spPr>
          <a:xfrm>
            <a:off x="6341062" y="5574901"/>
            <a:ext cx="2811988" cy="13350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감지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Detection):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ifferentiable Binarization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모델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미지에서 텍스트가 포함된 영역 식별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대규모 이미지 데이터셋으로 훈련된 모델 사용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주로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CNN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기반 모델 사용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233E4FC3-3135-AB46-CA1F-08B6725C1A7A}"/>
              </a:ext>
            </a:extLst>
          </p:cNvPr>
          <p:cNvSpPr/>
          <p:nvPr/>
        </p:nvSpPr>
        <p:spPr>
          <a:xfrm>
            <a:off x="9362086" y="4173458"/>
            <a:ext cx="1415904" cy="12792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9" name="화살표: 오른쪽 58">
            <a:extLst>
              <a:ext uri="{FF2B5EF4-FFF2-40B4-BE49-F238E27FC236}">
                <a16:creationId xmlns:a16="http://schemas.microsoft.com/office/drawing/2014/main" id="{AB98208F-984A-6659-2C83-8001AE263A43}"/>
              </a:ext>
            </a:extLst>
          </p:cNvPr>
          <p:cNvSpPr/>
          <p:nvPr/>
        </p:nvSpPr>
        <p:spPr>
          <a:xfrm>
            <a:off x="7838454" y="4396049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화살표: 오른쪽 64">
            <a:extLst>
              <a:ext uri="{FF2B5EF4-FFF2-40B4-BE49-F238E27FC236}">
                <a16:creationId xmlns:a16="http://schemas.microsoft.com/office/drawing/2014/main" id="{E4044E66-BAF3-EF60-351B-FA4F565E8728}"/>
              </a:ext>
            </a:extLst>
          </p:cNvPr>
          <p:cNvSpPr/>
          <p:nvPr/>
        </p:nvSpPr>
        <p:spPr>
          <a:xfrm>
            <a:off x="7838454" y="5054384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239597EB-E00C-114A-2382-1C11678F362C}"/>
              </a:ext>
            </a:extLst>
          </p:cNvPr>
          <p:cNvSpPr/>
          <p:nvPr/>
        </p:nvSpPr>
        <p:spPr>
          <a:xfrm>
            <a:off x="9479934" y="4300296"/>
            <a:ext cx="511366" cy="313723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CS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65815E22-DCF9-7F31-427B-9B37F662F13F}"/>
              </a:ext>
            </a:extLst>
          </p:cNvPr>
          <p:cNvSpPr/>
          <p:nvPr/>
        </p:nvSpPr>
        <p:spPr>
          <a:xfrm>
            <a:off x="9470939" y="4941678"/>
            <a:ext cx="1168831" cy="32820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MAA11CT009B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73B300E-C11F-1EA1-E1AD-A46BEB72645C}"/>
              </a:ext>
            </a:extLst>
          </p:cNvPr>
          <p:cNvSpPr txBox="1"/>
          <p:nvPr/>
        </p:nvSpPr>
        <p:spPr>
          <a:xfrm>
            <a:off x="9245638" y="5555779"/>
            <a:ext cx="2228495" cy="10811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인식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Recognition):</a:t>
            </a:r>
          </a:p>
          <a:p>
            <a:pPr>
              <a:lnSpc>
                <a:spcPct val="150000"/>
              </a:lnSpc>
            </a:pPr>
            <a:r>
              <a:rPr lang="en-US" altLang="ko-KR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SVTR_LCNet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모델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이미지를 문자열로 변환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다양한 폰트와 스타일 해석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6" name="Rectangle 3">
            <a:extLst>
              <a:ext uri="{FF2B5EF4-FFF2-40B4-BE49-F238E27FC236}">
                <a16:creationId xmlns:a16="http://schemas.microsoft.com/office/drawing/2014/main" id="{948029F7-59F1-4159-9867-167FD4FE648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00" y="852254"/>
            <a:ext cx="87979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2pPr marL="1587" lvl="1" algn="l" defTabSz="936625" eaLnBrk="0" hangingPunct="0">
              <a:spcBef>
                <a:spcPts val="300"/>
              </a:spcBef>
              <a:spcAft>
                <a:spcPts val="100"/>
              </a:spcAft>
              <a:defRPr kumimoji="1" sz="1600" i="0">
                <a:solidFill>
                  <a:schemeClr val="tx1"/>
                </a:solidFill>
                <a:latin typeface="Noto Sans CJK KR Regular" pitchFamily="34" charset="-127"/>
                <a:ea typeface="Noto Sans CJK KR Regular" pitchFamily="34" charset="-127"/>
              </a:defRPr>
            </a:lvl2pPr>
          </a:lstStyle>
          <a:p>
            <a:pPr lvl="1"/>
            <a:r>
              <a:rPr lang="en-US" altLang="ko-KR" dirty="0">
                <a:sym typeface="Noto Sans CJK KR Regular"/>
              </a:rPr>
              <a:t>I&amp;C</a:t>
            </a:r>
            <a:r>
              <a:rPr lang="ko-KR" altLang="en-US" dirty="0">
                <a:sym typeface="Noto Sans CJK KR Regular"/>
              </a:rPr>
              <a:t> 도면에서 </a:t>
            </a:r>
            <a:r>
              <a:rPr lang="en-US" altLang="ko-KR" dirty="0">
                <a:sym typeface="Noto Sans CJK KR Regular"/>
              </a:rPr>
              <a:t>TEXT </a:t>
            </a:r>
            <a:r>
              <a:rPr lang="ko-KR" altLang="en-US" dirty="0">
                <a:sym typeface="Noto Sans CJK KR Regular"/>
              </a:rPr>
              <a:t>를 추출하고</a:t>
            </a:r>
            <a:r>
              <a:rPr lang="en-US" altLang="ko-KR" dirty="0">
                <a:sym typeface="Noto Sans CJK KR Regular"/>
              </a:rPr>
              <a:t>, Parameter List </a:t>
            </a:r>
            <a:r>
              <a:rPr lang="ko-KR" altLang="en-US" dirty="0">
                <a:sym typeface="Noto Sans CJK KR Regular"/>
              </a:rPr>
              <a:t>및 </a:t>
            </a:r>
            <a:r>
              <a:rPr lang="en-US" altLang="ko-KR" dirty="0">
                <a:sym typeface="Noto Sans CJK KR Regular"/>
              </a:rPr>
              <a:t>IO</a:t>
            </a:r>
            <a:r>
              <a:rPr lang="ko-KR" altLang="en-US" dirty="0">
                <a:sym typeface="Noto Sans CJK KR Regular"/>
              </a:rPr>
              <a:t> </a:t>
            </a:r>
            <a:r>
              <a:rPr lang="en-US" altLang="ko-KR" dirty="0">
                <a:sym typeface="Noto Sans CJK KR Regular"/>
              </a:rPr>
              <a:t>List</a:t>
            </a:r>
            <a:r>
              <a:rPr lang="ko-KR" altLang="en-US" dirty="0">
                <a:sym typeface="Noto Sans CJK KR Regular"/>
              </a:rPr>
              <a:t> 로 정리하는 과정</a:t>
            </a:r>
            <a:endParaRPr lang="en-US" altLang="ko-KR" dirty="0">
              <a:sym typeface="Noto Sans CJK KR Regular"/>
            </a:endParaRPr>
          </a:p>
        </p:txBody>
      </p:sp>
      <p:sp>
        <p:nvSpPr>
          <p:cNvPr id="77" name="제목 2">
            <a:extLst>
              <a:ext uri="{FF2B5EF4-FFF2-40B4-BE49-F238E27FC236}">
                <a16:creationId xmlns:a16="http://schemas.microsoft.com/office/drawing/2014/main" id="{D75C6EDB-5F9C-27F9-BCF2-57EB8B03EABA}"/>
              </a:ext>
            </a:extLst>
          </p:cNvPr>
          <p:cNvSpPr txBox="1">
            <a:spLocks/>
          </p:cNvSpPr>
          <p:nvPr/>
        </p:nvSpPr>
        <p:spPr bwMode="auto">
          <a:xfrm>
            <a:off x="533400" y="247123"/>
            <a:ext cx="355170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0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0000"/>
                </a:solidFill>
                <a:latin typeface="Noto Sans CJK KR Bold" pitchFamily="34" charset="-127"/>
                <a:ea typeface="Noto Sans CJK KR Bold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116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22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344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45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altLang="ko-KR" i="0" kern="0" dirty="0"/>
              <a:t>I&amp;C </a:t>
            </a:r>
            <a:r>
              <a:rPr lang="ko-KR" altLang="en-US" kern="0" dirty="0"/>
              <a:t>도면 </a:t>
            </a:r>
            <a:r>
              <a:rPr lang="en-US" altLang="ko-KR" kern="0" dirty="0"/>
              <a:t>TEXT </a:t>
            </a:r>
            <a:r>
              <a:rPr lang="ko-KR" altLang="en-US" kern="0" dirty="0"/>
              <a:t>인식 절차</a:t>
            </a:r>
            <a:endParaRPr lang="ko-KR" altLang="en-US" i="0" kern="0" dirty="0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D6B01F5D-939D-B930-0D1F-0DD352520460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8403" y="1882868"/>
            <a:ext cx="5116707" cy="917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OCR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을 통해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I&amp;C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도면에서 텍스트를 추출함</a:t>
            </a:r>
            <a:endParaRPr lang="en-US" altLang="ko-KR" sz="120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추출한 텍스트 중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ag No.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에 대해서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Parameter List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및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IO List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로  정리함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AAD4739E-3C38-0B1F-CC8A-B9AF2B687BB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1217" y="4450948"/>
            <a:ext cx="5116707" cy="917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OCR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을 통해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I&amp;C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도면에서 텍스트를 추출함</a:t>
            </a:r>
            <a:endParaRPr lang="en-US" altLang="ko-KR" sz="120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추출한 텍스트 중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ag No.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에 대해서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Parameter List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및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IO List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로  정리함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1093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그래픽 83" descr="문서 윤곽선">
            <a:extLst>
              <a:ext uri="{FF2B5EF4-FFF2-40B4-BE49-F238E27FC236}">
                <a16:creationId xmlns:a16="http://schemas.microsoft.com/office/drawing/2014/main" id="{08C883F5-6A63-3D7A-AE55-42697EEFE0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80281" y="4003981"/>
            <a:ext cx="1448679" cy="1448679"/>
          </a:xfrm>
          <a:prstGeom prst="rect">
            <a:avLst/>
          </a:prstGeom>
        </p:spPr>
      </p:pic>
      <p:pic>
        <p:nvPicPr>
          <p:cNvPr id="1026" name="Picture 2" descr="Pdf - 무료 파일 및 폴더개 아이콘">
            <a:extLst>
              <a:ext uri="{FF2B5EF4-FFF2-40B4-BE49-F238E27FC236}">
                <a16:creationId xmlns:a16="http://schemas.microsoft.com/office/drawing/2014/main" id="{31BEEB2D-6080-B5F5-4F37-5E27D3AF1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3500" y="1548113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517A8AFC-952B-5E9A-8346-8B14F07F61E1}"/>
              </a:ext>
            </a:extLst>
          </p:cNvPr>
          <p:cNvSpPr txBox="1"/>
          <p:nvPr/>
        </p:nvSpPr>
        <p:spPr>
          <a:xfrm>
            <a:off x="6591450" y="2455899"/>
            <a:ext cx="7200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&amp;C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도면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4657EB4-2102-81A6-8190-187A4C42DEB7}"/>
              </a:ext>
            </a:extLst>
          </p:cNvPr>
          <p:cNvSpPr txBox="1"/>
          <p:nvPr/>
        </p:nvSpPr>
        <p:spPr>
          <a:xfrm>
            <a:off x="8181759" y="2383081"/>
            <a:ext cx="8659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추출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0823D84-615E-0FF0-5FF5-182BBA311BBE}"/>
              </a:ext>
            </a:extLst>
          </p:cNvPr>
          <p:cNvSpPr txBox="1"/>
          <p:nvPr/>
        </p:nvSpPr>
        <p:spPr>
          <a:xfrm>
            <a:off x="9867771" y="2410159"/>
            <a:ext cx="14798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매칭 및 정리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arameter, IO List 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30" name="Picture 6" descr="XLS 문서 다운로드 아이콘 벡터 템플릿 | 프리미엄 벡터">
            <a:extLst>
              <a:ext uri="{FF2B5EF4-FFF2-40B4-BE49-F238E27FC236}">
                <a16:creationId xmlns:a16="http://schemas.microsoft.com/office/drawing/2014/main" id="{171FD25A-A878-1A6F-04C3-E79CB7AFD2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4" t="24305" r="23612" b="23519"/>
          <a:stretch/>
        </p:blipFill>
        <p:spPr bwMode="auto">
          <a:xfrm>
            <a:off x="9941826" y="1460938"/>
            <a:ext cx="828000" cy="84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화살표: 오른쪽 38">
            <a:extLst>
              <a:ext uri="{FF2B5EF4-FFF2-40B4-BE49-F238E27FC236}">
                <a16:creationId xmlns:a16="http://schemas.microsoft.com/office/drawing/2014/main" id="{7B2B41D0-57EB-3D1C-6C53-990AAB20CED4}"/>
              </a:ext>
            </a:extLst>
          </p:cNvPr>
          <p:cNvSpPr/>
          <p:nvPr/>
        </p:nvSpPr>
        <p:spPr>
          <a:xfrm>
            <a:off x="7621233" y="1907711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화살표: 오른쪽 40">
            <a:extLst>
              <a:ext uri="{FF2B5EF4-FFF2-40B4-BE49-F238E27FC236}">
                <a16:creationId xmlns:a16="http://schemas.microsoft.com/office/drawing/2014/main" id="{3E4077AE-A4F0-5D9E-5C32-5AE0597301A1}"/>
              </a:ext>
            </a:extLst>
          </p:cNvPr>
          <p:cNvSpPr/>
          <p:nvPr/>
        </p:nvSpPr>
        <p:spPr>
          <a:xfrm>
            <a:off x="9430812" y="1915018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071F0EC3-9354-4A79-5673-54486006E3DE}"/>
              </a:ext>
            </a:extLst>
          </p:cNvPr>
          <p:cNvSpPr/>
          <p:nvPr/>
        </p:nvSpPr>
        <p:spPr>
          <a:xfrm>
            <a:off x="6169479" y="1186354"/>
            <a:ext cx="5389123" cy="192092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C7529916-2721-01D8-AA3A-DE4124D8963B}"/>
              </a:ext>
            </a:extLst>
          </p:cNvPr>
          <p:cNvSpPr/>
          <p:nvPr/>
        </p:nvSpPr>
        <p:spPr>
          <a:xfrm>
            <a:off x="6169479" y="3329152"/>
            <a:ext cx="5389123" cy="3318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CCE06D76-6351-72CD-25CC-A1D1DC3185CD}"/>
              </a:ext>
            </a:extLst>
          </p:cNvPr>
          <p:cNvSpPr/>
          <p:nvPr/>
        </p:nvSpPr>
        <p:spPr>
          <a:xfrm>
            <a:off x="6355650" y="3469036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2C518245-ABAF-FC39-C8CE-9E5D2DD0890C}"/>
              </a:ext>
            </a:extLst>
          </p:cNvPr>
          <p:cNvSpPr/>
          <p:nvPr/>
        </p:nvSpPr>
        <p:spPr>
          <a:xfrm>
            <a:off x="6853266" y="4447253"/>
            <a:ext cx="422818" cy="15241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F59B1B06-8F5D-FF4A-2861-D3862D070F6B}"/>
              </a:ext>
            </a:extLst>
          </p:cNvPr>
          <p:cNvSpPr/>
          <p:nvPr/>
        </p:nvSpPr>
        <p:spPr>
          <a:xfrm>
            <a:off x="6882537" y="4641914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9F5F8D3-6666-161D-AA9E-231695B5FE34}"/>
              </a:ext>
            </a:extLst>
          </p:cNvPr>
          <p:cNvSpPr/>
          <p:nvPr/>
        </p:nvSpPr>
        <p:spPr>
          <a:xfrm>
            <a:off x="6904308" y="4965763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D6056993-5845-0240-7567-50D13156F96D}"/>
              </a:ext>
            </a:extLst>
          </p:cNvPr>
          <p:cNvSpPr/>
          <p:nvPr/>
        </p:nvSpPr>
        <p:spPr>
          <a:xfrm>
            <a:off x="6887406" y="4679337"/>
            <a:ext cx="634428" cy="298290"/>
          </a:xfrm>
          <a:prstGeom prst="rect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87240D88-1977-CBBB-2994-AF3D698766A5}"/>
              </a:ext>
            </a:extLst>
          </p:cNvPr>
          <p:cNvSpPr/>
          <p:nvPr/>
        </p:nvSpPr>
        <p:spPr>
          <a:xfrm>
            <a:off x="6863908" y="5055691"/>
            <a:ext cx="682991" cy="159378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E3930F45-139F-4B1D-4274-6CBA664A4FBD}"/>
              </a:ext>
            </a:extLst>
          </p:cNvPr>
          <p:cNvSpPr/>
          <p:nvPr/>
        </p:nvSpPr>
        <p:spPr>
          <a:xfrm>
            <a:off x="6836908" y="4423948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323C4C9A-1A4B-C1DC-4E9D-F9C154170E85}"/>
              </a:ext>
            </a:extLst>
          </p:cNvPr>
          <p:cNvSpPr/>
          <p:nvPr/>
        </p:nvSpPr>
        <p:spPr>
          <a:xfrm>
            <a:off x="6834188" y="4560019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4654D5DC-C12E-62B3-A47A-D6E88F4FE763}"/>
              </a:ext>
            </a:extLst>
          </p:cNvPr>
          <p:cNvSpPr/>
          <p:nvPr/>
        </p:nvSpPr>
        <p:spPr>
          <a:xfrm>
            <a:off x="7239679" y="4573626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6338BB17-B3C7-C9D6-B092-7103EEAB1608}"/>
              </a:ext>
            </a:extLst>
          </p:cNvPr>
          <p:cNvSpPr/>
          <p:nvPr/>
        </p:nvSpPr>
        <p:spPr>
          <a:xfrm>
            <a:off x="7253287" y="4415784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BC5A3283-0561-60AE-B49B-15BB5C8AE1E7}"/>
              </a:ext>
            </a:extLst>
          </p:cNvPr>
          <p:cNvSpPr/>
          <p:nvPr/>
        </p:nvSpPr>
        <p:spPr>
          <a:xfrm>
            <a:off x="7514544" y="5019940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38B7BD7B-285D-C51B-8763-AF07F6039781}"/>
              </a:ext>
            </a:extLst>
          </p:cNvPr>
          <p:cNvSpPr/>
          <p:nvPr/>
        </p:nvSpPr>
        <p:spPr>
          <a:xfrm>
            <a:off x="6845073" y="5036267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CB11AA58-0910-81FB-8378-3C95D379B26B}"/>
              </a:ext>
            </a:extLst>
          </p:cNvPr>
          <p:cNvSpPr/>
          <p:nvPr/>
        </p:nvSpPr>
        <p:spPr>
          <a:xfrm>
            <a:off x="7514541" y="5175060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402BE596-FA06-49BA-52D2-224048C00EC8}"/>
              </a:ext>
            </a:extLst>
          </p:cNvPr>
          <p:cNvSpPr/>
          <p:nvPr/>
        </p:nvSpPr>
        <p:spPr>
          <a:xfrm>
            <a:off x="6845073" y="518322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B2400E6-C600-9AD9-F479-7276EA02D10E}"/>
              </a:ext>
            </a:extLst>
          </p:cNvPr>
          <p:cNvSpPr txBox="1"/>
          <p:nvPr/>
        </p:nvSpPr>
        <p:spPr>
          <a:xfrm>
            <a:off x="6341062" y="5574901"/>
            <a:ext cx="2390398" cy="5732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감지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Detection):</a:t>
            </a: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미지에서 텍스트가 포함된 영역 식별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233E4FC3-3135-AB46-CA1F-08B6725C1A7A}"/>
              </a:ext>
            </a:extLst>
          </p:cNvPr>
          <p:cNvSpPr/>
          <p:nvPr/>
        </p:nvSpPr>
        <p:spPr>
          <a:xfrm>
            <a:off x="9362086" y="4173458"/>
            <a:ext cx="1415904" cy="12792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9" name="화살표: 오른쪽 58">
            <a:extLst>
              <a:ext uri="{FF2B5EF4-FFF2-40B4-BE49-F238E27FC236}">
                <a16:creationId xmlns:a16="http://schemas.microsoft.com/office/drawing/2014/main" id="{AB98208F-984A-6659-2C83-8001AE263A43}"/>
              </a:ext>
            </a:extLst>
          </p:cNvPr>
          <p:cNvSpPr/>
          <p:nvPr/>
        </p:nvSpPr>
        <p:spPr>
          <a:xfrm>
            <a:off x="7838454" y="4396049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화살표: 오른쪽 64">
            <a:extLst>
              <a:ext uri="{FF2B5EF4-FFF2-40B4-BE49-F238E27FC236}">
                <a16:creationId xmlns:a16="http://schemas.microsoft.com/office/drawing/2014/main" id="{E4044E66-BAF3-EF60-351B-FA4F565E8728}"/>
              </a:ext>
            </a:extLst>
          </p:cNvPr>
          <p:cNvSpPr/>
          <p:nvPr/>
        </p:nvSpPr>
        <p:spPr>
          <a:xfrm>
            <a:off x="7838454" y="5054384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239597EB-E00C-114A-2382-1C11678F362C}"/>
              </a:ext>
            </a:extLst>
          </p:cNvPr>
          <p:cNvSpPr/>
          <p:nvPr/>
        </p:nvSpPr>
        <p:spPr>
          <a:xfrm>
            <a:off x="9479934" y="4300296"/>
            <a:ext cx="511366" cy="313723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CS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65815E22-DCF9-7F31-427B-9B37F662F13F}"/>
              </a:ext>
            </a:extLst>
          </p:cNvPr>
          <p:cNvSpPr/>
          <p:nvPr/>
        </p:nvSpPr>
        <p:spPr>
          <a:xfrm>
            <a:off x="9470939" y="4941678"/>
            <a:ext cx="1168831" cy="32820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MAA11CT009B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73B300E-C11F-1EA1-E1AD-A46BEB72645C}"/>
              </a:ext>
            </a:extLst>
          </p:cNvPr>
          <p:cNvSpPr txBox="1"/>
          <p:nvPr/>
        </p:nvSpPr>
        <p:spPr>
          <a:xfrm>
            <a:off x="9245638" y="5555779"/>
            <a:ext cx="2228495" cy="8272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인식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Recognition):</a:t>
            </a: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이미지를 문자열로 변환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다양한 폰트와 스타일 해석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6" name="Rectangle 3">
            <a:extLst>
              <a:ext uri="{FF2B5EF4-FFF2-40B4-BE49-F238E27FC236}">
                <a16:creationId xmlns:a16="http://schemas.microsoft.com/office/drawing/2014/main" id="{948029F7-59F1-4159-9867-167FD4FE648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00" y="852254"/>
            <a:ext cx="87979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2pPr marL="1587" lvl="1" algn="l" defTabSz="936625" eaLnBrk="0" hangingPunct="0">
              <a:spcBef>
                <a:spcPts val="300"/>
              </a:spcBef>
              <a:spcAft>
                <a:spcPts val="100"/>
              </a:spcAft>
              <a:defRPr kumimoji="1" sz="1600" i="0">
                <a:solidFill>
                  <a:schemeClr val="tx1"/>
                </a:solidFill>
                <a:latin typeface="Noto Sans CJK KR Regular" pitchFamily="34" charset="-127"/>
                <a:ea typeface="Noto Sans CJK KR Regular" pitchFamily="34" charset="-127"/>
              </a:defRPr>
            </a:lvl2pPr>
          </a:lstStyle>
          <a:p>
            <a:pPr lvl="1"/>
            <a:r>
              <a:rPr lang="en-US" altLang="ko-KR" dirty="0">
                <a:sym typeface="Noto Sans CJK KR Regular"/>
              </a:rPr>
              <a:t>I&amp;C</a:t>
            </a:r>
            <a:r>
              <a:rPr lang="ko-KR" altLang="en-US" dirty="0">
                <a:sym typeface="Noto Sans CJK KR Regular"/>
              </a:rPr>
              <a:t> 도면에서 </a:t>
            </a:r>
            <a:r>
              <a:rPr lang="en-US" altLang="ko-KR" dirty="0">
                <a:sym typeface="Noto Sans CJK KR Regular"/>
              </a:rPr>
              <a:t>TEXT </a:t>
            </a:r>
            <a:r>
              <a:rPr lang="ko-KR" altLang="en-US" dirty="0">
                <a:sym typeface="Noto Sans CJK KR Regular"/>
              </a:rPr>
              <a:t>를 추출하고</a:t>
            </a:r>
            <a:r>
              <a:rPr lang="en-US" altLang="ko-KR" dirty="0">
                <a:sym typeface="Noto Sans CJK KR Regular"/>
              </a:rPr>
              <a:t>, IO</a:t>
            </a:r>
            <a:r>
              <a:rPr lang="ko-KR" altLang="en-US" dirty="0">
                <a:sym typeface="Noto Sans CJK KR Regular"/>
              </a:rPr>
              <a:t> </a:t>
            </a:r>
            <a:r>
              <a:rPr lang="en-US" altLang="ko-KR" dirty="0">
                <a:sym typeface="Noto Sans CJK KR Regular"/>
              </a:rPr>
              <a:t>List</a:t>
            </a:r>
            <a:r>
              <a:rPr lang="ko-KR" altLang="en-US" dirty="0">
                <a:sym typeface="Noto Sans CJK KR Regular"/>
              </a:rPr>
              <a:t> 로 정리하는 과정</a:t>
            </a:r>
            <a:endParaRPr lang="en-US" altLang="ko-KR" dirty="0">
              <a:sym typeface="Noto Sans CJK KR Regular"/>
            </a:endParaRPr>
          </a:p>
        </p:txBody>
      </p:sp>
      <p:sp>
        <p:nvSpPr>
          <p:cNvPr id="77" name="제목 2">
            <a:extLst>
              <a:ext uri="{FF2B5EF4-FFF2-40B4-BE49-F238E27FC236}">
                <a16:creationId xmlns:a16="http://schemas.microsoft.com/office/drawing/2014/main" id="{D75C6EDB-5F9C-27F9-BCF2-57EB8B03EABA}"/>
              </a:ext>
            </a:extLst>
          </p:cNvPr>
          <p:cNvSpPr txBox="1">
            <a:spLocks/>
          </p:cNvSpPr>
          <p:nvPr/>
        </p:nvSpPr>
        <p:spPr bwMode="auto">
          <a:xfrm>
            <a:off x="533400" y="247123"/>
            <a:ext cx="355170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0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0000"/>
                </a:solidFill>
                <a:latin typeface="Noto Sans CJK KR Bold" pitchFamily="34" charset="-127"/>
                <a:ea typeface="Noto Sans CJK KR Bold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116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22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344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45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altLang="ko-KR" i="0" kern="0" dirty="0"/>
              <a:t>I&amp;C </a:t>
            </a:r>
            <a:r>
              <a:rPr lang="ko-KR" altLang="en-US" kern="0" dirty="0"/>
              <a:t>도면 </a:t>
            </a:r>
            <a:r>
              <a:rPr lang="en-US" altLang="ko-KR" kern="0" dirty="0"/>
              <a:t>TEXT </a:t>
            </a:r>
            <a:r>
              <a:rPr lang="ko-KR" altLang="en-US" kern="0" dirty="0"/>
              <a:t>인식 절차</a:t>
            </a:r>
            <a:endParaRPr lang="ko-KR" altLang="en-US" i="0" kern="0" dirty="0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D6B01F5D-939D-B930-0D1F-0DD352520460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00625" y="1896486"/>
            <a:ext cx="5205750" cy="1132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OCR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을 통해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I&amp;C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도면에서 텍스트를 추출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추출한 텍스트 중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ag No.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에 대해서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Parameter List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와 매칭하여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IO List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로 정리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AAD4739E-3C38-0B1F-CC8A-B9AF2B687BB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48103" y="4148182"/>
            <a:ext cx="5116707" cy="1948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OCR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은 텍스트 감지와 텍스트 인식의 단계를 거쳐 텍스트를 추출함 </a:t>
            </a:r>
            <a:endParaRPr lang="en-US" altLang="ko-KR" sz="120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1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CNN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및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Transformer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구조로 이루어진</a:t>
            </a: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딥러닝 모델들이 활용됨  </a:t>
            </a:r>
            <a:endParaRPr lang="en-US" altLang="ko-KR" sz="120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2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텍스트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감지</a:t>
            </a:r>
            <a:r>
              <a:rPr lang="en-US" altLang="ko-KR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: Differentiable Binarization </a:t>
            </a:r>
            <a:r>
              <a:rPr lang="ko-KR" altLang="en-US" sz="1200" b="0" i="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모델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2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텍스트 인식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: </a:t>
            </a:r>
            <a:r>
              <a:rPr lang="en-US" altLang="ko-KR" sz="1200" dirty="0" err="1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SVTR_LCNet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모델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lvl="2" latinLnBrk="0">
              <a:lnSpc>
                <a:spcPct val="200000"/>
              </a:lnSpc>
              <a:spcBef>
                <a:spcPts val="300"/>
              </a:spcBef>
              <a:spcAft>
                <a:spcPts val="0"/>
              </a:spcAft>
            </a:pP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대규모 데이터로 학습된 모델을 </a:t>
            </a:r>
            <a:r>
              <a:rPr lang="en-US" altLang="ko-KR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Fine-tuning </a:t>
            </a:r>
            <a:r>
              <a:rPr lang="ko-KR" altLang="en-US" sz="1200" dirty="0">
                <a:solidFill>
                  <a:prstClr val="black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하여 활용</a:t>
            </a:r>
            <a:endParaRPr lang="en-US" altLang="ko-KR" sz="1200" b="0" i="0" dirty="0">
              <a:solidFill>
                <a:prstClr val="black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61F328BC-034C-39E4-20F2-0C9A4C720C41}"/>
              </a:ext>
            </a:extLst>
          </p:cNvPr>
          <p:cNvSpPr/>
          <p:nvPr/>
        </p:nvSpPr>
        <p:spPr>
          <a:xfrm>
            <a:off x="9463090" y="428243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9DA2823E-CD6A-1513-F7CC-A6C608456ED3}"/>
              </a:ext>
            </a:extLst>
          </p:cNvPr>
          <p:cNvSpPr/>
          <p:nvPr/>
        </p:nvSpPr>
        <p:spPr>
          <a:xfrm>
            <a:off x="9966553" y="4296042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00F1DE76-695B-2874-9222-1E84BCFCF14E}"/>
              </a:ext>
            </a:extLst>
          </p:cNvPr>
          <p:cNvSpPr/>
          <p:nvPr/>
        </p:nvSpPr>
        <p:spPr>
          <a:xfrm>
            <a:off x="9457648" y="4570903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719CF29-76C0-6248-5260-20AA527FC42D}"/>
              </a:ext>
            </a:extLst>
          </p:cNvPr>
          <p:cNvSpPr/>
          <p:nvPr/>
        </p:nvSpPr>
        <p:spPr>
          <a:xfrm>
            <a:off x="9961112" y="4568181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432F81A9-DCB1-D0E8-05F2-561DFCABBECA}"/>
              </a:ext>
            </a:extLst>
          </p:cNvPr>
          <p:cNvSpPr/>
          <p:nvPr/>
        </p:nvSpPr>
        <p:spPr>
          <a:xfrm>
            <a:off x="9446764" y="4911081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B309CC00-890D-C920-C241-1726415D94BD}"/>
              </a:ext>
            </a:extLst>
          </p:cNvPr>
          <p:cNvSpPr/>
          <p:nvPr/>
        </p:nvSpPr>
        <p:spPr>
          <a:xfrm>
            <a:off x="9452206" y="522676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4A7243A2-EA77-A8C7-3683-19F7D2F4E6CF}"/>
              </a:ext>
            </a:extLst>
          </p:cNvPr>
          <p:cNvSpPr/>
          <p:nvPr/>
        </p:nvSpPr>
        <p:spPr>
          <a:xfrm>
            <a:off x="10608814" y="5224043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7FDC0A71-D802-38D7-1B2B-829CE687EAAF}"/>
              </a:ext>
            </a:extLst>
          </p:cNvPr>
          <p:cNvSpPr/>
          <p:nvPr/>
        </p:nvSpPr>
        <p:spPr>
          <a:xfrm>
            <a:off x="10600650" y="4913801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2" name="그래픽 11" descr="문서 윤곽선">
            <a:extLst>
              <a:ext uri="{FF2B5EF4-FFF2-40B4-BE49-F238E27FC236}">
                <a16:creationId xmlns:a16="http://schemas.microsoft.com/office/drawing/2014/main" id="{164ED48F-0721-76C1-B6DD-90B0CD3D63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79944" y="1460938"/>
            <a:ext cx="914400" cy="914400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EC027655-7685-ED23-4D17-4784CDACD4A5}"/>
              </a:ext>
            </a:extLst>
          </p:cNvPr>
          <p:cNvSpPr/>
          <p:nvPr/>
        </p:nvSpPr>
        <p:spPr>
          <a:xfrm>
            <a:off x="8659986" y="1460938"/>
            <a:ext cx="530087" cy="465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4" name="그래픽 13" descr="돋보기 윤곽선">
            <a:extLst>
              <a:ext uri="{FF2B5EF4-FFF2-40B4-BE49-F238E27FC236}">
                <a16:creationId xmlns:a16="http://schemas.microsoft.com/office/drawing/2014/main" id="{489F1BF6-B35F-09BE-A4C6-2FCEF9E6F0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20664542">
            <a:off x="8560251" y="1410270"/>
            <a:ext cx="720000" cy="720000"/>
          </a:xfrm>
          <a:prstGeom prst="rect">
            <a:avLst/>
          </a:prstGeom>
        </p:spPr>
      </p:pic>
      <p:pic>
        <p:nvPicPr>
          <p:cNvPr id="15" name="그림 14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E0BC2E60-6877-FCAA-D07B-03573AE3AE1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8698280" y="1627925"/>
            <a:ext cx="267362" cy="198471"/>
          </a:xfrm>
          <a:prstGeom prst="rect">
            <a:avLst/>
          </a:prstGeom>
        </p:spPr>
      </p:pic>
      <p:grpSp>
        <p:nvGrpSpPr>
          <p:cNvPr id="23" name="그룹 22">
            <a:extLst>
              <a:ext uri="{FF2B5EF4-FFF2-40B4-BE49-F238E27FC236}">
                <a16:creationId xmlns:a16="http://schemas.microsoft.com/office/drawing/2014/main" id="{3B51DB61-CA06-1607-3C97-22DD5E02FA7C}"/>
              </a:ext>
            </a:extLst>
          </p:cNvPr>
          <p:cNvGrpSpPr/>
          <p:nvPr/>
        </p:nvGrpSpPr>
        <p:grpSpPr>
          <a:xfrm>
            <a:off x="6569802" y="-855209"/>
            <a:ext cx="1100307" cy="965068"/>
            <a:chOff x="6569802" y="-855209"/>
            <a:chExt cx="1100307" cy="965068"/>
          </a:xfrm>
        </p:grpSpPr>
        <p:pic>
          <p:nvPicPr>
            <p:cNvPr id="19" name="그래픽 18" descr="문서 윤곽선">
              <a:extLst>
                <a:ext uri="{FF2B5EF4-FFF2-40B4-BE49-F238E27FC236}">
                  <a16:creationId xmlns:a16="http://schemas.microsoft.com/office/drawing/2014/main" id="{6E93DD6A-473F-7A57-143E-E33F59DC3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569802" y="-804541"/>
              <a:ext cx="914400" cy="914400"/>
            </a:xfrm>
            <a:prstGeom prst="rect">
              <a:avLst/>
            </a:prstGeom>
          </p:spPr>
        </p:pic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F977B165-4619-865A-ABDF-FCF55AE70883}"/>
                </a:ext>
              </a:extLst>
            </p:cNvPr>
            <p:cNvSpPr/>
            <p:nvPr/>
          </p:nvSpPr>
          <p:spPr>
            <a:xfrm>
              <a:off x="7049844" y="-804541"/>
              <a:ext cx="530087" cy="4653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21" name="그래픽 20" descr="돋보기 윤곽선">
              <a:extLst>
                <a:ext uri="{FF2B5EF4-FFF2-40B4-BE49-F238E27FC236}">
                  <a16:creationId xmlns:a16="http://schemas.microsoft.com/office/drawing/2014/main" id="{9C01FFA2-7E58-CA71-CD4C-F230E1AB63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20664542">
              <a:off x="6950109" y="-855209"/>
              <a:ext cx="720000" cy="720000"/>
            </a:xfrm>
            <a:prstGeom prst="rect">
              <a:avLst/>
            </a:prstGeom>
          </p:spPr>
        </p:pic>
        <p:pic>
          <p:nvPicPr>
            <p:cNvPr id="22" name="그림 21" descr="상징이(가) 표시된 사진&#10;&#10;AI가 생성한 콘텐츠는 부정확할 수 있습니다.">
              <a:extLst>
                <a:ext uri="{FF2B5EF4-FFF2-40B4-BE49-F238E27FC236}">
                  <a16:creationId xmlns:a16="http://schemas.microsoft.com/office/drawing/2014/main" id="{204CEA14-B81D-C610-4870-62BB5DA45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048" t="53066" r="36889" b="26191"/>
            <a:stretch/>
          </p:blipFill>
          <p:spPr>
            <a:xfrm>
              <a:off x="7088138" y="-637554"/>
              <a:ext cx="267362" cy="19847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84329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그래픽 83" descr="문서 윤곽선">
            <a:extLst>
              <a:ext uri="{FF2B5EF4-FFF2-40B4-BE49-F238E27FC236}">
                <a16:creationId xmlns:a16="http://schemas.microsoft.com/office/drawing/2014/main" id="{08C883F5-6A63-3D7A-AE55-42697EEFE0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894270" y="9355622"/>
            <a:ext cx="1448679" cy="1448679"/>
          </a:xfrm>
          <a:prstGeom prst="rect">
            <a:avLst/>
          </a:prstGeom>
        </p:spPr>
      </p:pic>
      <p:pic>
        <p:nvPicPr>
          <p:cNvPr id="44" name="그래픽 43" descr="돋보기 단색으로 채워진">
            <a:extLst>
              <a:ext uri="{FF2B5EF4-FFF2-40B4-BE49-F238E27FC236}">
                <a16:creationId xmlns:a16="http://schemas.microsoft.com/office/drawing/2014/main" id="{A70B8577-1327-BA3A-97BF-2CEFBE18F6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08997" y="10031121"/>
            <a:ext cx="914400" cy="914400"/>
          </a:xfrm>
          <a:prstGeom prst="rect">
            <a:avLst/>
          </a:prstGeom>
        </p:spPr>
      </p:pic>
      <p:pic>
        <p:nvPicPr>
          <p:cNvPr id="48" name="그래픽 47" descr="문서 단색으로 채워진">
            <a:extLst>
              <a:ext uri="{FF2B5EF4-FFF2-40B4-BE49-F238E27FC236}">
                <a16:creationId xmlns:a16="http://schemas.microsoft.com/office/drawing/2014/main" id="{672FA611-EC3D-0056-2E28-7EB141499A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52628" y="9278813"/>
            <a:ext cx="914400" cy="914400"/>
          </a:xfrm>
          <a:prstGeom prst="rect">
            <a:avLst/>
          </a:prstGeom>
        </p:spPr>
      </p:pic>
      <p:grpSp>
        <p:nvGrpSpPr>
          <p:cNvPr id="64" name="그룹 63">
            <a:extLst>
              <a:ext uri="{FF2B5EF4-FFF2-40B4-BE49-F238E27FC236}">
                <a16:creationId xmlns:a16="http://schemas.microsoft.com/office/drawing/2014/main" id="{7CE7DACE-4D8E-3C61-4300-081AD3E71BD6}"/>
              </a:ext>
            </a:extLst>
          </p:cNvPr>
          <p:cNvGrpSpPr/>
          <p:nvPr/>
        </p:nvGrpSpPr>
        <p:grpSpPr>
          <a:xfrm>
            <a:off x="5999673" y="9500243"/>
            <a:ext cx="1613090" cy="1445278"/>
            <a:chOff x="3478631" y="812250"/>
            <a:chExt cx="1613090" cy="1445278"/>
          </a:xfrm>
        </p:grpSpPr>
        <p:pic>
          <p:nvPicPr>
            <p:cNvPr id="58" name="그래픽 57" descr="문서 윤곽선">
              <a:extLst>
                <a:ext uri="{FF2B5EF4-FFF2-40B4-BE49-F238E27FC236}">
                  <a16:creationId xmlns:a16="http://schemas.microsoft.com/office/drawing/2014/main" id="{061A8F3B-13CB-D10A-D8B1-189F6842E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849780" y="1221611"/>
              <a:ext cx="914400" cy="914400"/>
            </a:xfrm>
            <a:prstGeom prst="rect">
              <a:avLst/>
            </a:prstGeom>
          </p:spPr>
        </p:pic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A89E0C32-897C-988E-C36C-68E405F2E731}"/>
                </a:ext>
              </a:extLst>
            </p:cNvPr>
            <p:cNvSpPr/>
            <p:nvPr/>
          </p:nvSpPr>
          <p:spPr>
            <a:xfrm>
              <a:off x="4026329" y="1866786"/>
              <a:ext cx="628866" cy="3907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1" name="직사각형 60">
              <a:extLst>
                <a:ext uri="{FF2B5EF4-FFF2-40B4-BE49-F238E27FC236}">
                  <a16:creationId xmlns:a16="http://schemas.microsoft.com/office/drawing/2014/main" id="{634915C8-AB61-5D06-BDAF-5C333CEE6417}"/>
                </a:ext>
              </a:extLst>
            </p:cNvPr>
            <p:cNvSpPr/>
            <p:nvPr/>
          </p:nvSpPr>
          <p:spPr>
            <a:xfrm>
              <a:off x="4462855" y="1250248"/>
              <a:ext cx="628866" cy="6678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90AED177-0567-423B-4689-67BDD9F4688B}"/>
                </a:ext>
              </a:extLst>
            </p:cNvPr>
            <p:cNvSpPr/>
            <p:nvPr/>
          </p:nvSpPr>
          <p:spPr>
            <a:xfrm>
              <a:off x="3478631" y="1432330"/>
              <a:ext cx="628866" cy="6678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3" name="직사각형 62">
              <a:extLst>
                <a:ext uri="{FF2B5EF4-FFF2-40B4-BE49-F238E27FC236}">
                  <a16:creationId xmlns:a16="http://schemas.microsoft.com/office/drawing/2014/main" id="{FEEC2A1F-59B2-BCBF-E4F5-A44BB2E439CF}"/>
                </a:ext>
              </a:extLst>
            </p:cNvPr>
            <p:cNvSpPr/>
            <p:nvPr/>
          </p:nvSpPr>
          <p:spPr>
            <a:xfrm>
              <a:off x="3769751" y="812250"/>
              <a:ext cx="1103886" cy="752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67" name="그림 66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F1F868D1-5BE5-5CAD-F96E-B659C34C4CF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43563" b="36562"/>
          <a:stretch/>
        </p:blipFill>
        <p:spPr>
          <a:xfrm>
            <a:off x="8516397" y="10440101"/>
            <a:ext cx="296562" cy="150023"/>
          </a:xfrm>
          <a:prstGeom prst="rect">
            <a:avLst/>
          </a:prstGeom>
        </p:spPr>
      </p:pic>
      <p:pic>
        <p:nvPicPr>
          <p:cNvPr id="1026" name="Picture 2" descr="Pdf - 무료 파일 및 폴더개 아이콘">
            <a:extLst>
              <a:ext uri="{FF2B5EF4-FFF2-40B4-BE49-F238E27FC236}">
                <a16:creationId xmlns:a16="http://schemas.microsoft.com/office/drawing/2014/main" id="{31BEEB2D-6080-B5F5-4F37-5E27D3AF1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11051" y="6899754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517A8AFC-952B-5E9A-8346-8B14F07F61E1}"/>
              </a:ext>
            </a:extLst>
          </p:cNvPr>
          <p:cNvSpPr txBox="1"/>
          <p:nvPr/>
        </p:nvSpPr>
        <p:spPr>
          <a:xfrm>
            <a:off x="1457360" y="4158985"/>
            <a:ext cx="7360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설계 도면</a:t>
            </a:r>
          </a:p>
        </p:txBody>
      </p:sp>
      <p:pic>
        <p:nvPicPr>
          <p:cNvPr id="70" name="그래픽 69" descr="문서 윤곽선">
            <a:extLst>
              <a:ext uri="{FF2B5EF4-FFF2-40B4-BE49-F238E27FC236}">
                <a16:creationId xmlns:a16="http://schemas.microsoft.com/office/drawing/2014/main" id="{63759C22-5E5E-81CB-9704-880B0ADF45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90661" y="6809459"/>
            <a:ext cx="914400" cy="914400"/>
          </a:xfrm>
          <a:prstGeom prst="rect">
            <a:avLst/>
          </a:prstGeom>
        </p:spPr>
      </p:pic>
      <p:pic>
        <p:nvPicPr>
          <p:cNvPr id="71" name="그래픽 70" descr="돋보기 윤곽선">
            <a:extLst>
              <a:ext uri="{FF2B5EF4-FFF2-40B4-BE49-F238E27FC236}">
                <a16:creationId xmlns:a16="http://schemas.microsoft.com/office/drawing/2014/main" id="{DE0A0379-F402-8767-31D3-C10407E2A71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20664542">
            <a:off x="89646" y="6758791"/>
            <a:ext cx="720000" cy="720000"/>
          </a:xfrm>
          <a:prstGeom prst="rect">
            <a:avLst/>
          </a:prstGeom>
        </p:spPr>
      </p:pic>
      <p:pic>
        <p:nvPicPr>
          <p:cNvPr id="72" name="그림 71" descr="상징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E51E8A7A-8BC1-F2E9-B322-3B4B87ECFA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8" t="53066" r="36889" b="26191"/>
          <a:stretch/>
        </p:blipFill>
        <p:spPr>
          <a:xfrm>
            <a:off x="227675" y="6976446"/>
            <a:ext cx="267362" cy="19847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D4657EB4-2102-81A6-8190-187A4C42DEB7}"/>
              </a:ext>
            </a:extLst>
          </p:cNvPr>
          <p:cNvSpPr txBox="1"/>
          <p:nvPr/>
        </p:nvSpPr>
        <p:spPr>
          <a:xfrm>
            <a:off x="-192792" y="7734722"/>
            <a:ext cx="8659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:</a:t>
            </a:r>
          </a:p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추출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0823D84-615E-0FF0-5FF5-182BBA311BBE}"/>
              </a:ext>
            </a:extLst>
          </p:cNvPr>
          <p:cNvSpPr txBox="1"/>
          <p:nvPr/>
        </p:nvSpPr>
        <p:spPr>
          <a:xfrm>
            <a:off x="1493220" y="7761800"/>
            <a:ext cx="14798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매칭 및 정리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:</a:t>
            </a:r>
          </a:p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Parameter, IO List 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028" name="Picture 4" descr="작업 영역 지원 컬렉션에서 Excel 아이콘 벡터입니다 얇은 라인 엑셀 개요 아이콘 벡터 일러스트 레이 션입니다 웹 사이트 디자인 및  모바일 앱 개발을 위한 개요 얇은 라인 엑셀 아이콘 아이콘에 대한 스톡">
            <a:extLst>
              <a:ext uri="{FF2B5EF4-FFF2-40B4-BE49-F238E27FC236}">
                <a16:creationId xmlns:a16="http://schemas.microsoft.com/office/drawing/2014/main" id="{15BAD69C-6AD7-B1C7-1A36-E52E10DFD1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899" t="16199" r="27284" b="34688"/>
          <a:stretch/>
        </p:blipFill>
        <p:spPr bwMode="auto">
          <a:xfrm>
            <a:off x="3107192" y="9747809"/>
            <a:ext cx="917622" cy="105253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XLS 문서 다운로드 아이콘 벡터 템플릿 | 프리미엄 벡터">
            <a:extLst>
              <a:ext uri="{FF2B5EF4-FFF2-40B4-BE49-F238E27FC236}">
                <a16:creationId xmlns:a16="http://schemas.microsoft.com/office/drawing/2014/main" id="{171FD25A-A878-1A6F-04C3-E79CB7AFD2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4" t="24305" r="23612" b="23519"/>
          <a:stretch/>
        </p:blipFill>
        <p:spPr bwMode="auto">
          <a:xfrm>
            <a:off x="1567275" y="6812579"/>
            <a:ext cx="828000" cy="843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화살표: 오른쪽 38">
            <a:extLst>
              <a:ext uri="{FF2B5EF4-FFF2-40B4-BE49-F238E27FC236}">
                <a16:creationId xmlns:a16="http://schemas.microsoft.com/office/drawing/2014/main" id="{7B2B41D0-57EB-3D1C-6C53-990AAB20CED4}"/>
              </a:ext>
            </a:extLst>
          </p:cNvPr>
          <p:cNvSpPr/>
          <p:nvPr/>
        </p:nvSpPr>
        <p:spPr>
          <a:xfrm>
            <a:off x="3764122" y="2368201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화살표: 오른쪽 40">
            <a:extLst>
              <a:ext uri="{FF2B5EF4-FFF2-40B4-BE49-F238E27FC236}">
                <a16:creationId xmlns:a16="http://schemas.microsoft.com/office/drawing/2014/main" id="{3E4077AE-A4F0-5D9E-5C32-5AE0597301A1}"/>
              </a:ext>
            </a:extLst>
          </p:cNvPr>
          <p:cNvSpPr/>
          <p:nvPr/>
        </p:nvSpPr>
        <p:spPr>
          <a:xfrm>
            <a:off x="1056261" y="7266659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071F0EC3-9354-4A79-5673-54486006E3DE}"/>
              </a:ext>
            </a:extLst>
          </p:cNvPr>
          <p:cNvSpPr/>
          <p:nvPr/>
        </p:nvSpPr>
        <p:spPr>
          <a:xfrm>
            <a:off x="-2096030" y="7688133"/>
            <a:ext cx="5389123" cy="192092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C7529916-2721-01D8-AA3A-DE4124D8963B}"/>
              </a:ext>
            </a:extLst>
          </p:cNvPr>
          <p:cNvSpPr/>
          <p:nvPr/>
        </p:nvSpPr>
        <p:spPr>
          <a:xfrm>
            <a:off x="-2205072" y="8680793"/>
            <a:ext cx="5389123" cy="331884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CCE06D76-6351-72CD-25CC-A1D1DC3185CD}"/>
              </a:ext>
            </a:extLst>
          </p:cNvPr>
          <p:cNvSpPr/>
          <p:nvPr/>
        </p:nvSpPr>
        <p:spPr>
          <a:xfrm>
            <a:off x="-2018901" y="8820677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2C518245-ABAF-FC39-C8CE-9E5D2DD0890C}"/>
              </a:ext>
            </a:extLst>
          </p:cNvPr>
          <p:cNvSpPr/>
          <p:nvPr/>
        </p:nvSpPr>
        <p:spPr>
          <a:xfrm>
            <a:off x="-1521285" y="9798894"/>
            <a:ext cx="422818" cy="15241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F59B1B06-8F5D-FF4A-2861-D3862D070F6B}"/>
              </a:ext>
            </a:extLst>
          </p:cNvPr>
          <p:cNvSpPr/>
          <p:nvPr/>
        </p:nvSpPr>
        <p:spPr>
          <a:xfrm>
            <a:off x="-1492014" y="9993555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9F5F8D3-6666-161D-AA9E-231695B5FE34}"/>
              </a:ext>
            </a:extLst>
          </p:cNvPr>
          <p:cNvSpPr/>
          <p:nvPr/>
        </p:nvSpPr>
        <p:spPr>
          <a:xfrm>
            <a:off x="-1470243" y="10317404"/>
            <a:ext cx="634428" cy="78243"/>
          </a:xfrm>
          <a:prstGeom prst="rect">
            <a:avLst/>
          </a:prstGeom>
          <a:solidFill>
            <a:schemeClr val="bg1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D6056993-5845-0240-7567-50D13156F96D}"/>
              </a:ext>
            </a:extLst>
          </p:cNvPr>
          <p:cNvSpPr/>
          <p:nvPr/>
        </p:nvSpPr>
        <p:spPr>
          <a:xfrm>
            <a:off x="-1487145" y="10030978"/>
            <a:ext cx="634428" cy="298290"/>
          </a:xfrm>
          <a:prstGeom prst="rect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z</a:t>
            </a:r>
            <a:endParaRPr lang="ko-KR" altLang="en-US" dirty="0"/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87240D88-1977-CBBB-2994-AF3D698766A5}"/>
              </a:ext>
            </a:extLst>
          </p:cNvPr>
          <p:cNvSpPr/>
          <p:nvPr/>
        </p:nvSpPr>
        <p:spPr>
          <a:xfrm>
            <a:off x="-1510643" y="10407332"/>
            <a:ext cx="682991" cy="159378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E3930F45-139F-4B1D-4274-6CBA664A4FBD}"/>
              </a:ext>
            </a:extLst>
          </p:cNvPr>
          <p:cNvSpPr/>
          <p:nvPr/>
        </p:nvSpPr>
        <p:spPr>
          <a:xfrm>
            <a:off x="-1537643" y="9775589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323C4C9A-1A4B-C1DC-4E9D-F9C154170E85}"/>
              </a:ext>
            </a:extLst>
          </p:cNvPr>
          <p:cNvSpPr/>
          <p:nvPr/>
        </p:nvSpPr>
        <p:spPr>
          <a:xfrm>
            <a:off x="-1540363" y="9911660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4654D5DC-C12E-62B3-A47A-D6E88F4FE763}"/>
              </a:ext>
            </a:extLst>
          </p:cNvPr>
          <p:cNvSpPr/>
          <p:nvPr/>
        </p:nvSpPr>
        <p:spPr>
          <a:xfrm>
            <a:off x="-1134872" y="9925267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6338BB17-B3C7-C9D6-B092-7103EEAB1608}"/>
              </a:ext>
            </a:extLst>
          </p:cNvPr>
          <p:cNvSpPr/>
          <p:nvPr/>
        </p:nvSpPr>
        <p:spPr>
          <a:xfrm>
            <a:off x="-1121264" y="9767425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BC5A3283-0561-60AE-B49B-15BB5C8AE1E7}"/>
              </a:ext>
            </a:extLst>
          </p:cNvPr>
          <p:cNvSpPr/>
          <p:nvPr/>
        </p:nvSpPr>
        <p:spPr>
          <a:xfrm>
            <a:off x="-860007" y="10371581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38B7BD7B-285D-C51B-8763-AF07F6039781}"/>
              </a:ext>
            </a:extLst>
          </p:cNvPr>
          <p:cNvSpPr/>
          <p:nvPr/>
        </p:nvSpPr>
        <p:spPr>
          <a:xfrm>
            <a:off x="-1529478" y="10387908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CB11AA58-0910-81FB-8378-3C95D379B26B}"/>
              </a:ext>
            </a:extLst>
          </p:cNvPr>
          <p:cNvSpPr/>
          <p:nvPr/>
        </p:nvSpPr>
        <p:spPr>
          <a:xfrm>
            <a:off x="-860010" y="10526701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402BE596-FA06-49BA-52D2-224048C00EC8}"/>
              </a:ext>
            </a:extLst>
          </p:cNvPr>
          <p:cNvSpPr/>
          <p:nvPr/>
        </p:nvSpPr>
        <p:spPr>
          <a:xfrm>
            <a:off x="-1529478" y="10534866"/>
            <a:ext cx="54000" cy="54000"/>
          </a:xfrm>
          <a:prstGeom prst="rect">
            <a:avLst/>
          </a:prstGeom>
          <a:solidFill>
            <a:schemeClr val="bg1"/>
          </a:solidFill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B2400E6-C600-9AD9-F479-7276EA02D10E}"/>
              </a:ext>
            </a:extLst>
          </p:cNvPr>
          <p:cNvSpPr txBox="1"/>
          <p:nvPr/>
        </p:nvSpPr>
        <p:spPr>
          <a:xfrm>
            <a:off x="-2033489" y="10926542"/>
            <a:ext cx="2811988" cy="13350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감지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Detection):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ifferentiable Binarization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모델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미지에서 텍스트가 포함된 영역 식별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대규모 이미지 데이터셋으로 훈련된 모델 사용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주로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CNN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기반 모델 사용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233E4FC3-3135-AB46-CA1F-08B6725C1A7A}"/>
              </a:ext>
            </a:extLst>
          </p:cNvPr>
          <p:cNvSpPr/>
          <p:nvPr/>
        </p:nvSpPr>
        <p:spPr>
          <a:xfrm>
            <a:off x="987535" y="9525099"/>
            <a:ext cx="1415904" cy="12792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9" name="화살표: 오른쪽 58">
            <a:extLst>
              <a:ext uri="{FF2B5EF4-FFF2-40B4-BE49-F238E27FC236}">
                <a16:creationId xmlns:a16="http://schemas.microsoft.com/office/drawing/2014/main" id="{AB98208F-984A-6659-2C83-8001AE263A43}"/>
              </a:ext>
            </a:extLst>
          </p:cNvPr>
          <p:cNvSpPr/>
          <p:nvPr/>
        </p:nvSpPr>
        <p:spPr>
          <a:xfrm>
            <a:off x="-536097" y="9747690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화살표: 오른쪽 64">
            <a:extLst>
              <a:ext uri="{FF2B5EF4-FFF2-40B4-BE49-F238E27FC236}">
                <a16:creationId xmlns:a16="http://schemas.microsoft.com/office/drawing/2014/main" id="{E4044E66-BAF3-EF60-351B-FA4F565E8728}"/>
              </a:ext>
            </a:extLst>
          </p:cNvPr>
          <p:cNvSpPr/>
          <p:nvPr/>
        </p:nvSpPr>
        <p:spPr>
          <a:xfrm>
            <a:off x="-536097" y="10406025"/>
            <a:ext cx="1252434" cy="15241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239597EB-E00C-114A-2382-1C11678F362C}"/>
              </a:ext>
            </a:extLst>
          </p:cNvPr>
          <p:cNvSpPr/>
          <p:nvPr/>
        </p:nvSpPr>
        <p:spPr>
          <a:xfrm>
            <a:off x="1105383" y="9651937"/>
            <a:ext cx="511366" cy="313723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CS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65815E22-DCF9-7F31-427B-9B37F662F13F}"/>
              </a:ext>
            </a:extLst>
          </p:cNvPr>
          <p:cNvSpPr/>
          <p:nvPr/>
        </p:nvSpPr>
        <p:spPr>
          <a:xfrm>
            <a:off x="1096388" y="10293319"/>
            <a:ext cx="1168831" cy="328204"/>
          </a:xfrm>
          <a:prstGeom prst="rect">
            <a:avLst/>
          </a:prstGeom>
          <a:noFill/>
          <a:ln w="22225"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MAA11CT009B</a:t>
            </a:r>
            <a:endParaRPr lang="ko-KR" altLang="en-US" sz="11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73B300E-C11F-1EA1-E1AD-A46BEB72645C}"/>
              </a:ext>
            </a:extLst>
          </p:cNvPr>
          <p:cNvSpPr txBox="1"/>
          <p:nvPr/>
        </p:nvSpPr>
        <p:spPr>
          <a:xfrm>
            <a:off x="871087" y="10907420"/>
            <a:ext cx="2228495" cy="10811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인식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Recognition):</a:t>
            </a:r>
          </a:p>
          <a:p>
            <a:pPr>
              <a:lnSpc>
                <a:spcPct val="150000"/>
              </a:lnSpc>
            </a:pPr>
            <a:r>
              <a:rPr lang="en-US" altLang="ko-KR" sz="1100" dirty="0" err="1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SVTR_LCNet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모델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이미지를 문자열로 변환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다양한 폰트와 스타일 해석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68" name="그림 67">
            <a:extLst>
              <a:ext uri="{FF2B5EF4-FFF2-40B4-BE49-F238E27FC236}">
                <a16:creationId xmlns:a16="http://schemas.microsoft.com/office/drawing/2014/main" id="{E97D0534-41CF-4FCE-0874-6A83B741271B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l="33560" t="30062" r="47898" b="47142"/>
          <a:stretch/>
        </p:blipFill>
        <p:spPr>
          <a:xfrm>
            <a:off x="198173" y="1194901"/>
            <a:ext cx="3302501" cy="2880000"/>
          </a:xfrm>
          <a:prstGeom prst="rect">
            <a:avLst/>
          </a:prstGeom>
        </p:spPr>
      </p:pic>
      <p:pic>
        <p:nvPicPr>
          <p:cNvPr id="76" name="그림 75">
            <a:extLst>
              <a:ext uri="{FF2B5EF4-FFF2-40B4-BE49-F238E27FC236}">
                <a16:creationId xmlns:a16="http://schemas.microsoft.com/office/drawing/2014/main" id="{E87ECE33-F5E3-1995-F183-3F8B73AD5F8A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 l="5238" r="44371" b="12136"/>
          <a:stretch/>
        </p:blipFill>
        <p:spPr>
          <a:xfrm>
            <a:off x="8282337" y="1207601"/>
            <a:ext cx="3357615" cy="2880000"/>
          </a:xfrm>
          <a:prstGeom prst="rect">
            <a:avLst/>
          </a:prstGeom>
        </p:spPr>
      </p:pic>
      <p:pic>
        <p:nvPicPr>
          <p:cNvPr id="77" name="그림 76" descr="텍스트, 도표, 평면도, 개략도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3E3D0490-D184-4BAF-8B7D-84771373144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02" t="30803" r="47843" b="46741"/>
          <a:stretch/>
        </p:blipFill>
        <p:spPr>
          <a:xfrm>
            <a:off x="4208997" y="1180580"/>
            <a:ext cx="3420000" cy="2880000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540244B6-EF00-F369-5D57-704BF94B0B4C}"/>
              </a:ext>
            </a:extLst>
          </p:cNvPr>
          <p:cNvSpPr txBox="1"/>
          <p:nvPr/>
        </p:nvSpPr>
        <p:spPr>
          <a:xfrm>
            <a:off x="5099993" y="4171685"/>
            <a:ext cx="20217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감지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Detection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CF9A3170-BC59-2175-80B7-621B537D4E98}"/>
              </a:ext>
            </a:extLst>
          </p:cNvPr>
          <p:cNvSpPr txBox="1"/>
          <p:nvPr/>
        </p:nvSpPr>
        <p:spPr>
          <a:xfrm>
            <a:off x="8981051" y="4184385"/>
            <a:ext cx="21820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텍스트 인식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Text Recognition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87" name="화살표: 오른쪽 86">
            <a:extLst>
              <a:ext uri="{FF2B5EF4-FFF2-40B4-BE49-F238E27FC236}">
                <a16:creationId xmlns:a16="http://schemas.microsoft.com/office/drawing/2014/main" id="{B3F34E94-923B-8C0B-6201-C03A44EDFC8C}"/>
              </a:ext>
            </a:extLst>
          </p:cNvPr>
          <p:cNvSpPr/>
          <p:nvPr/>
        </p:nvSpPr>
        <p:spPr>
          <a:xfrm>
            <a:off x="7855436" y="2431459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9" name="화살표: 오른쪽 88">
            <a:extLst>
              <a:ext uri="{FF2B5EF4-FFF2-40B4-BE49-F238E27FC236}">
                <a16:creationId xmlns:a16="http://schemas.microsoft.com/office/drawing/2014/main" id="{6548C748-E0D7-BC39-DF3F-2323137C0A32}"/>
              </a:ext>
            </a:extLst>
          </p:cNvPr>
          <p:cNvSpPr/>
          <p:nvPr/>
        </p:nvSpPr>
        <p:spPr>
          <a:xfrm rot="5400000">
            <a:off x="5662890" y="4716437"/>
            <a:ext cx="267384" cy="22811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8FCB55B3-8B86-D626-4E95-3DE38FFB3781}"/>
              </a:ext>
            </a:extLst>
          </p:cNvPr>
          <p:cNvSpPr/>
          <p:nvPr/>
        </p:nvSpPr>
        <p:spPr>
          <a:xfrm>
            <a:off x="90120" y="749300"/>
            <a:ext cx="11903707" cy="374978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2EFA919A-3819-F73F-28A0-C02B2F9477EF}"/>
              </a:ext>
            </a:extLst>
          </p:cNvPr>
          <p:cNvSpPr/>
          <p:nvPr/>
        </p:nvSpPr>
        <p:spPr>
          <a:xfrm>
            <a:off x="326887" y="866446"/>
            <a:ext cx="1636643" cy="23586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graphicFrame>
        <p:nvGraphicFramePr>
          <p:cNvPr id="92" name="표 91">
            <a:extLst>
              <a:ext uri="{FF2B5EF4-FFF2-40B4-BE49-F238E27FC236}">
                <a16:creationId xmlns:a16="http://schemas.microsoft.com/office/drawing/2014/main" id="{8B86ADCC-C2E0-6900-BA25-2E2311896F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1830255"/>
              </p:ext>
            </p:extLst>
          </p:nvPr>
        </p:nvGraphicFramePr>
        <p:xfrm>
          <a:off x="489488" y="5253310"/>
          <a:ext cx="10889713" cy="1357895"/>
        </p:xfrm>
        <a:graphic>
          <a:graphicData uri="http://schemas.openxmlformats.org/drawingml/2006/table">
            <a:tbl>
              <a:tblPr/>
              <a:tblGrid>
                <a:gridCol w="483793">
                  <a:extLst>
                    <a:ext uri="{9D8B030D-6E8A-4147-A177-3AD203B41FA5}">
                      <a16:colId xmlns:a16="http://schemas.microsoft.com/office/drawing/2014/main" val="633444760"/>
                    </a:ext>
                  </a:extLst>
                </a:gridCol>
                <a:gridCol w="721290">
                  <a:extLst>
                    <a:ext uri="{9D8B030D-6E8A-4147-A177-3AD203B41FA5}">
                      <a16:colId xmlns:a16="http://schemas.microsoft.com/office/drawing/2014/main" val="2111030680"/>
                    </a:ext>
                  </a:extLst>
                </a:gridCol>
                <a:gridCol w="818048">
                  <a:extLst>
                    <a:ext uri="{9D8B030D-6E8A-4147-A177-3AD203B41FA5}">
                      <a16:colId xmlns:a16="http://schemas.microsoft.com/office/drawing/2014/main" val="4265010073"/>
                    </a:ext>
                  </a:extLst>
                </a:gridCol>
                <a:gridCol w="721290">
                  <a:extLst>
                    <a:ext uri="{9D8B030D-6E8A-4147-A177-3AD203B41FA5}">
                      <a16:colId xmlns:a16="http://schemas.microsoft.com/office/drawing/2014/main" val="3547606813"/>
                    </a:ext>
                  </a:extLst>
                </a:gridCol>
                <a:gridCol w="791659">
                  <a:extLst>
                    <a:ext uri="{9D8B030D-6E8A-4147-A177-3AD203B41FA5}">
                      <a16:colId xmlns:a16="http://schemas.microsoft.com/office/drawing/2014/main" val="4141063901"/>
                    </a:ext>
                  </a:extLst>
                </a:gridCol>
                <a:gridCol w="501383">
                  <a:extLst>
                    <a:ext uri="{9D8B030D-6E8A-4147-A177-3AD203B41FA5}">
                      <a16:colId xmlns:a16="http://schemas.microsoft.com/office/drawing/2014/main" val="1975745850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3554959328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1036600600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3558715065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2028355712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1883219251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4293749332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1086099247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2351848561"/>
                    </a:ext>
                  </a:extLst>
                </a:gridCol>
                <a:gridCol w="237498">
                  <a:extLst>
                    <a:ext uri="{9D8B030D-6E8A-4147-A177-3AD203B41FA5}">
                      <a16:colId xmlns:a16="http://schemas.microsoft.com/office/drawing/2014/main" val="4018032570"/>
                    </a:ext>
                  </a:extLst>
                </a:gridCol>
                <a:gridCol w="1029158">
                  <a:extLst>
                    <a:ext uri="{9D8B030D-6E8A-4147-A177-3AD203B41FA5}">
                      <a16:colId xmlns:a16="http://schemas.microsoft.com/office/drawing/2014/main" val="1311768625"/>
                    </a:ext>
                  </a:extLst>
                </a:gridCol>
                <a:gridCol w="2981914">
                  <a:extLst>
                    <a:ext uri="{9D8B030D-6E8A-4147-A177-3AD203B41FA5}">
                      <a16:colId xmlns:a16="http://schemas.microsoft.com/office/drawing/2014/main" val="1406721734"/>
                    </a:ext>
                  </a:extLst>
                </a:gridCol>
                <a:gridCol w="351848">
                  <a:extLst>
                    <a:ext uri="{9D8B030D-6E8A-4147-A177-3AD203B41FA5}">
                      <a16:colId xmlns:a16="http://schemas.microsoft.com/office/drawing/2014/main" val="3689945310"/>
                    </a:ext>
                  </a:extLst>
                </a:gridCol>
                <a:gridCol w="351848">
                  <a:extLst>
                    <a:ext uri="{9D8B030D-6E8A-4147-A177-3AD203B41FA5}">
                      <a16:colId xmlns:a16="http://schemas.microsoft.com/office/drawing/2014/main" val="1377047837"/>
                    </a:ext>
                  </a:extLst>
                </a:gridCol>
              </a:tblGrid>
              <a:tr h="20677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HANDLE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BLOCKNAME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YSTEM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INSTRUMENT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ERIAL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PART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　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AG No.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DESCRIPTION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USE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Noto Sans CJK KR Bold" panose="020B0800000000000000" pitchFamily="34" charset="-127"/>
                        <a:ea typeface="Noto Sans CJK KR Bold" panose="020B0800000000000000" pitchFamily="34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579193"/>
                  </a:ext>
                </a:extLst>
              </a:tr>
              <a:tr h="20677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'27BC2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INSTRU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TEAM SYSTE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2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BUCKE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C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00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10MAA11CT009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HP EXHAUST TEMP 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CM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Noto Sans CJK KR Bold" panose="020B0800000000000000" pitchFamily="34" charset="-127"/>
                        <a:ea typeface="Noto Sans CJK KR Bold" panose="020B0800000000000000" pitchFamily="34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0435242"/>
                  </a:ext>
                </a:extLst>
              </a:tr>
              <a:tr h="20677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'27BC6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INSTRU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TEAM SYSTE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2B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BUCKE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C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00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B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10MAA11CT009B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HP EXHAUST TEMP B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CM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5083377"/>
                  </a:ext>
                </a:extLst>
              </a:tr>
              <a:tr h="20677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'27BC9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INSTRU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TEAM SYSTEM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2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BUCKE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M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C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00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10MAA11CT009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HP EXHAUST TEMP C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CM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7365201"/>
                  </a:ext>
                </a:extLst>
              </a:tr>
              <a:tr h="20677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'27B9B4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INSTRUMENT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TEAM SYSTEM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01A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S&amp;L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E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0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LB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A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12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CT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600" b="0" i="0" u="none" strike="noStrike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001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A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E10LBA12CT001A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HP INLET STEAM TEMP A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 CJK KR Bold" panose="020B0800000000000000" pitchFamily="34" charset="-127"/>
                          <a:ea typeface="Noto Sans CJK KR Bold" panose="020B0800000000000000" pitchFamily="34" charset="-127"/>
                        </a:rPr>
                        <a:t>TCMS</a:t>
                      </a: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2097516"/>
                  </a:ext>
                </a:extLst>
              </a:tr>
              <a:tr h="324000">
                <a:tc gridSpan="18">
                  <a:txBody>
                    <a:bodyPr/>
                    <a:lstStyle/>
                    <a:p>
                      <a:pPr algn="ctr" fontAlgn="ctr"/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Noto Sans CJK KR Bold" panose="020B0800000000000000" pitchFamily="34" charset="-127"/>
                        <a:ea typeface="Noto Sans CJK KR Bold" panose="020B0800000000000000" pitchFamily="34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Noto Sans CJK KR Bold" panose="020B0800000000000000" pitchFamily="34" charset="-127"/>
                        <a:ea typeface="Noto Sans CJK KR Bold" panose="020B0800000000000000" pitchFamily="34" charset="-127"/>
                      </a:endParaRPr>
                    </a:p>
                  </a:txBody>
                  <a:tcPr marL="4389" marR="4389" marT="43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136005"/>
                  </a:ext>
                </a:extLst>
              </a:tr>
            </a:tbl>
          </a:graphicData>
        </a:graphic>
      </p:graphicFrame>
      <p:sp>
        <p:nvSpPr>
          <p:cNvPr id="93" name="직사각형 92">
            <a:extLst>
              <a:ext uri="{FF2B5EF4-FFF2-40B4-BE49-F238E27FC236}">
                <a16:creationId xmlns:a16="http://schemas.microsoft.com/office/drawing/2014/main" id="{427625FB-914B-9778-BC69-3575A1D90F55}"/>
              </a:ext>
            </a:extLst>
          </p:cNvPr>
          <p:cNvSpPr/>
          <p:nvPr/>
        </p:nvSpPr>
        <p:spPr>
          <a:xfrm>
            <a:off x="319534" y="4831550"/>
            <a:ext cx="3703808" cy="30281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CR</a:t>
            </a:r>
            <a:r>
              <a:rPr lang="ko-KR" altLang="en-US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로 추출한 </a:t>
            </a:r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ag No.</a:t>
            </a:r>
            <a:r>
              <a:rPr lang="ko-KR" altLang="en-US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와 </a:t>
            </a:r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  <a:sym typeface="Wingdings" panose="05000000000000000000" pitchFamily="2" charset="2"/>
              </a:rPr>
              <a:t>Parameter List </a:t>
            </a:r>
            <a:r>
              <a:rPr lang="ko-KR" altLang="en-US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  <a:sym typeface="Wingdings" panose="05000000000000000000" pitchFamily="2" charset="2"/>
              </a:rPr>
              <a:t>매칭</a:t>
            </a:r>
            <a:r>
              <a:rPr lang="en-US" altLang="ko-KR" sz="1200" dirty="0">
                <a:solidFill>
                  <a:schemeClr val="tx1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  <a:sym typeface="Wingdings" panose="05000000000000000000" pitchFamily="2" charset="2"/>
              </a:rPr>
              <a:t>  </a:t>
            </a:r>
            <a:endParaRPr lang="ko-KR" altLang="en-US" sz="1200" dirty="0">
              <a:solidFill>
                <a:schemeClr val="tx1"/>
              </a:solidFill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A9A44FE-051E-B042-5C55-45EB9015448E}"/>
              </a:ext>
            </a:extLst>
          </p:cNvPr>
          <p:cNvSpPr txBox="1"/>
          <p:nvPr/>
        </p:nvSpPr>
        <p:spPr>
          <a:xfrm rot="5400000">
            <a:off x="5762278" y="6320956"/>
            <a:ext cx="437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… </a:t>
            </a:r>
            <a:endParaRPr lang="ko-KR" altLang="en-US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AF7205FF-61C2-8554-EE4D-D0C82DD27D2C}"/>
              </a:ext>
            </a:extLst>
          </p:cNvPr>
          <p:cNvSpPr txBox="1"/>
          <p:nvPr/>
        </p:nvSpPr>
        <p:spPr>
          <a:xfrm rot="10800000">
            <a:off x="10941261" y="5758936"/>
            <a:ext cx="437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… </a:t>
            </a:r>
            <a:endParaRPr lang="ko-KR" altLang="en-US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2BC9E5AB-C93B-59F0-7E21-9E736A93252A}"/>
              </a:ext>
            </a:extLst>
          </p:cNvPr>
          <p:cNvSpPr txBox="1"/>
          <p:nvPr/>
        </p:nvSpPr>
        <p:spPr>
          <a:xfrm rot="10800000">
            <a:off x="10947611" y="5244619"/>
            <a:ext cx="437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… </a:t>
            </a:r>
            <a:endParaRPr lang="ko-KR" altLang="en-US" dirty="0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C11AC90-F8A9-8D09-9CB2-A1D54FE605C2}"/>
              </a:ext>
            </a:extLst>
          </p:cNvPr>
          <p:cNvSpPr txBox="1"/>
          <p:nvPr/>
        </p:nvSpPr>
        <p:spPr>
          <a:xfrm rot="12492728">
            <a:off x="10915861" y="6302814"/>
            <a:ext cx="437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… </a:t>
            </a:r>
            <a:endParaRPr lang="ko-KR" altLang="en-US" dirty="0"/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E4E5D1D9-557A-DEC7-6C3C-180C4C4CA261}"/>
              </a:ext>
            </a:extLst>
          </p:cNvPr>
          <p:cNvSpPr/>
          <p:nvPr/>
        </p:nvSpPr>
        <p:spPr>
          <a:xfrm>
            <a:off x="8737599" y="2462232"/>
            <a:ext cx="599441" cy="794048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587EC723-233A-AB64-08DD-8BDE1DB5588C}"/>
              </a:ext>
            </a:extLst>
          </p:cNvPr>
          <p:cNvSpPr/>
          <p:nvPr/>
        </p:nvSpPr>
        <p:spPr>
          <a:xfrm>
            <a:off x="6638699" y="5227868"/>
            <a:ext cx="1072741" cy="880831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1" name="제목 2">
            <a:extLst>
              <a:ext uri="{FF2B5EF4-FFF2-40B4-BE49-F238E27FC236}">
                <a16:creationId xmlns:a16="http://schemas.microsoft.com/office/drawing/2014/main" id="{59D17B17-10E5-2718-2E55-6D64A3CB72C1}"/>
              </a:ext>
            </a:extLst>
          </p:cNvPr>
          <p:cNvSpPr txBox="1">
            <a:spLocks/>
          </p:cNvSpPr>
          <p:nvPr/>
        </p:nvSpPr>
        <p:spPr bwMode="auto">
          <a:xfrm>
            <a:off x="533400" y="247123"/>
            <a:ext cx="355170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latinLnBrk="0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0000"/>
                </a:solidFill>
                <a:latin typeface="Noto Sans CJK KR Bold" pitchFamily="34" charset="-127"/>
                <a:ea typeface="Noto Sans CJK KR Bold" pitchFamily="34" charset="-127"/>
                <a:cs typeface="+mj-cs"/>
              </a:defRPr>
            </a:lvl1pPr>
            <a:lvl2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116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22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344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459" algn="l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altLang="ko-KR" kern="0" dirty="0"/>
              <a:t>OCR</a:t>
            </a:r>
            <a:r>
              <a:rPr lang="ko-KR" altLang="en-US" kern="0" dirty="0"/>
              <a:t> 예시</a:t>
            </a:r>
            <a:endParaRPr lang="ko-KR" altLang="en-US" i="0" kern="0" dirty="0"/>
          </a:p>
        </p:txBody>
      </p:sp>
    </p:spTree>
    <p:extLst>
      <p:ext uri="{BB962C8B-B14F-4D97-AF65-F5344CB8AC3E}">
        <p14:creationId xmlns:p14="http://schemas.microsoft.com/office/powerpoint/2010/main" val="39963619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4C3EA7D4-1F26-8FD1-FCA8-15BA91B7B7E0}"/>
              </a:ext>
            </a:extLst>
          </p:cNvPr>
          <p:cNvSpPr/>
          <p:nvPr/>
        </p:nvSpPr>
        <p:spPr>
          <a:xfrm>
            <a:off x="2107418" y="5359350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A5260DBE-15D9-38EB-0677-B8BD85613C8E}"/>
              </a:ext>
            </a:extLst>
          </p:cNvPr>
          <p:cNvSpPr/>
          <p:nvPr/>
        </p:nvSpPr>
        <p:spPr>
          <a:xfrm>
            <a:off x="4715827" y="2854436"/>
            <a:ext cx="2132269" cy="104756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F01C892D-87B8-F7C9-C5D7-DC6E74BCB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4250" y="1106010"/>
            <a:ext cx="819264" cy="7811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49B05C5-78F3-6DFF-C048-5ECDF77DF2D7}"/>
              </a:ext>
            </a:extLst>
          </p:cNvPr>
          <p:cNvSpPr txBox="1"/>
          <p:nvPr/>
        </p:nvSpPr>
        <p:spPr>
          <a:xfrm>
            <a:off x="858146" y="1877027"/>
            <a:ext cx="228306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Prediction Model</a:t>
            </a:r>
          </a:p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Artificial Neural Network)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4" name="그림 13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375205A2-2B50-D2A1-7EDA-7BD3E0358C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4564657" y="1297698"/>
            <a:ext cx="2160000" cy="1092161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EE77085-6559-A77C-D788-7F76DD87BF7E}"/>
              </a:ext>
            </a:extLst>
          </p:cNvPr>
          <p:cNvSpPr/>
          <p:nvPr/>
        </p:nvSpPr>
        <p:spPr>
          <a:xfrm>
            <a:off x="713793" y="931181"/>
            <a:ext cx="6480000" cy="339373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6" name="화살표: 오른쪽 15">
            <a:extLst>
              <a:ext uri="{FF2B5EF4-FFF2-40B4-BE49-F238E27FC236}">
                <a16:creationId xmlns:a16="http://schemas.microsoft.com/office/drawing/2014/main" id="{E437853C-354D-F9AA-C993-2F6AD6CB9D01}"/>
              </a:ext>
            </a:extLst>
          </p:cNvPr>
          <p:cNvSpPr/>
          <p:nvPr/>
        </p:nvSpPr>
        <p:spPr>
          <a:xfrm>
            <a:off x="3154218" y="1694486"/>
            <a:ext cx="763467" cy="196538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27172D-BC58-B7F9-005C-A16E59B65DC9}"/>
              </a:ext>
            </a:extLst>
          </p:cNvPr>
          <p:cNvSpPr txBox="1"/>
          <p:nvPr/>
        </p:nvSpPr>
        <p:spPr>
          <a:xfrm>
            <a:off x="3878315" y="1081937"/>
            <a:ext cx="771365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</a:t>
            </a:r>
          </a:p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7A783-E4F4-30C6-5F4B-51765D7B0DD0}"/>
              </a:ext>
            </a:extLst>
          </p:cNvPr>
          <p:cNvSpPr txBox="1"/>
          <p:nvPr/>
        </p:nvSpPr>
        <p:spPr>
          <a:xfrm>
            <a:off x="6637960" y="2120926"/>
            <a:ext cx="550151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ime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2199A3-3684-2315-811E-F2D7FD46F247}"/>
              </a:ext>
            </a:extLst>
          </p:cNvPr>
          <p:cNvSpPr txBox="1"/>
          <p:nvPr/>
        </p:nvSpPr>
        <p:spPr>
          <a:xfrm>
            <a:off x="4789317" y="1188893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5E3F6A-66EC-8F32-C7CE-9CD73743BF9C}"/>
              </a:ext>
            </a:extLst>
          </p:cNvPr>
          <p:cNvSpPr txBox="1"/>
          <p:nvPr/>
        </p:nvSpPr>
        <p:spPr>
          <a:xfrm>
            <a:off x="4774890" y="2039332"/>
            <a:ext cx="12378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AC2ABEA3-4B84-B657-FB16-D0F212BAAA27}"/>
              </a:ext>
            </a:extLst>
          </p:cNvPr>
          <p:cNvSpPr/>
          <p:nvPr/>
        </p:nvSpPr>
        <p:spPr>
          <a:xfrm>
            <a:off x="713792" y="4411560"/>
            <a:ext cx="6480000" cy="43598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BBAAAA9-B0B5-6DDE-BCCC-CBEB5FFAA338}"/>
              </a:ext>
            </a:extLst>
          </p:cNvPr>
          <p:cNvSpPr txBox="1"/>
          <p:nvPr/>
        </p:nvSpPr>
        <p:spPr>
          <a:xfrm>
            <a:off x="2087521" y="526108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A986F3-77EE-CB9B-F1E8-C8347FAEF75C}"/>
              </a:ext>
            </a:extLst>
          </p:cNvPr>
          <p:cNvSpPr txBox="1"/>
          <p:nvPr/>
        </p:nvSpPr>
        <p:spPr>
          <a:xfrm>
            <a:off x="5287076" y="3078786"/>
            <a:ext cx="960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  pp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F65B9FD-1F41-5C68-F32C-646C9554A29D}"/>
              </a:ext>
            </a:extLst>
          </p:cNvPr>
          <p:cNvSpPr txBox="1"/>
          <p:nvPr/>
        </p:nvSpPr>
        <p:spPr>
          <a:xfrm>
            <a:off x="2073952" y="3248437"/>
            <a:ext cx="9189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7E8648-CF47-2248-494C-6FA4D674CF6F}"/>
              </a:ext>
            </a:extLst>
          </p:cNvPr>
          <p:cNvSpPr txBox="1"/>
          <p:nvPr/>
        </p:nvSpPr>
        <p:spPr>
          <a:xfrm>
            <a:off x="5275854" y="3482509"/>
            <a:ext cx="9829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2 pp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C4F1C8-F688-FE90-BD55-AE80A5E3C42E}"/>
              </a:ext>
            </a:extLst>
          </p:cNvPr>
          <p:cNvSpPr txBox="1"/>
          <p:nvPr/>
        </p:nvSpPr>
        <p:spPr>
          <a:xfrm>
            <a:off x="1131965" y="2933634"/>
            <a:ext cx="864340" cy="10307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7CA9EC2B-4C1D-2D92-123A-DC854443E741}"/>
              </a:ext>
            </a:extLst>
          </p:cNvPr>
          <p:cNvSpPr/>
          <p:nvPr/>
        </p:nvSpPr>
        <p:spPr>
          <a:xfrm>
            <a:off x="1020095" y="2857434"/>
            <a:ext cx="2044633" cy="11151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BA966E-7990-3A4D-17F8-F7F2C063398E}"/>
              </a:ext>
            </a:extLst>
          </p:cNvPr>
          <p:cNvSpPr txBox="1"/>
          <p:nvPr/>
        </p:nvSpPr>
        <p:spPr>
          <a:xfrm>
            <a:off x="1571490" y="2654684"/>
            <a:ext cx="704039" cy="36067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3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3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1" name="화살표: 오른쪽 30">
            <a:extLst>
              <a:ext uri="{FF2B5EF4-FFF2-40B4-BE49-F238E27FC236}">
                <a16:creationId xmlns:a16="http://schemas.microsoft.com/office/drawing/2014/main" id="{ED8883CB-97A9-0C79-A269-EFF2BA16B25B}"/>
              </a:ext>
            </a:extLst>
          </p:cNvPr>
          <p:cNvSpPr/>
          <p:nvPr/>
        </p:nvSpPr>
        <p:spPr>
          <a:xfrm>
            <a:off x="3147513" y="3117530"/>
            <a:ext cx="1924239" cy="129704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FCAF1E-6459-F789-C330-46A0D8BAB403}"/>
              </a:ext>
            </a:extLst>
          </p:cNvPr>
          <p:cNvSpPr txBox="1"/>
          <p:nvPr/>
        </p:nvSpPr>
        <p:spPr>
          <a:xfrm>
            <a:off x="5231121" y="2625656"/>
            <a:ext cx="1146724" cy="3400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DD63FB88-DF58-A3B7-F226-9FDD0300E644}"/>
              </a:ext>
            </a:extLst>
          </p:cNvPr>
          <p:cNvSpPr/>
          <p:nvPr/>
        </p:nvSpPr>
        <p:spPr>
          <a:xfrm>
            <a:off x="3147513" y="3508753"/>
            <a:ext cx="1924239" cy="140606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C626E62C-466A-23C9-D62C-D66A0A259D90}"/>
              </a:ext>
            </a:extLst>
          </p:cNvPr>
          <p:cNvSpPr/>
          <p:nvPr/>
        </p:nvSpPr>
        <p:spPr>
          <a:xfrm>
            <a:off x="3768706" y="3306820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56793D1F-E35C-B171-397E-D66E51E6B6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5050" y="3374955"/>
            <a:ext cx="396000" cy="37758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5C57DD5E-E4BC-4966-B434-3186CF3B996D}"/>
              </a:ext>
            </a:extLst>
          </p:cNvPr>
          <p:cNvSpPr txBox="1"/>
          <p:nvPr/>
        </p:nvSpPr>
        <p:spPr>
          <a:xfrm>
            <a:off x="3462880" y="2938926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B857D07-286C-10C7-FAD8-5CD35586F441}"/>
              </a:ext>
            </a:extLst>
          </p:cNvPr>
          <p:cNvSpPr txBox="1"/>
          <p:nvPr/>
        </p:nvSpPr>
        <p:spPr>
          <a:xfrm>
            <a:off x="3330225" y="3751037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FC52B90-F2D9-CB8A-AAAD-BEB9FB78034F}"/>
              </a:ext>
            </a:extLst>
          </p:cNvPr>
          <p:cNvSpPr txBox="1"/>
          <p:nvPr/>
        </p:nvSpPr>
        <p:spPr>
          <a:xfrm>
            <a:off x="4875724" y="3871502"/>
            <a:ext cx="1961050" cy="3400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예측 신뢰도 </a:t>
            </a: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90% 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상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CB868FF-E0D5-9BE9-7A94-E5447147C520}"/>
              </a:ext>
            </a:extLst>
          </p:cNvPr>
          <p:cNvSpPr txBox="1"/>
          <p:nvPr/>
        </p:nvSpPr>
        <p:spPr>
          <a:xfrm>
            <a:off x="1153845" y="4926362"/>
            <a:ext cx="864340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/>
            <a:endParaRPr lang="en-US" altLang="ko-KR" sz="105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7747DBE0-D758-AAEA-9469-B3F3DA4EAF38}"/>
              </a:ext>
            </a:extLst>
          </p:cNvPr>
          <p:cNvSpPr/>
          <p:nvPr/>
        </p:nvSpPr>
        <p:spPr>
          <a:xfrm>
            <a:off x="1029276" y="4524554"/>
            <a:ext cx="2088536" cy="209532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97E210-B853-555A-0587-F833EAF547B0}"/>
              </a:ext>
            </a:extLst>
          </p:cNvPr>
          <p:cNvSpPr txBox="1"/>
          <p:nvPr/>
        </p:nvSpPr>
        <p:spPr>
          <a:xfrm>
            <a:off x="1472906" y="4456914"/>
            <a:ext cx="665567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44CBF5F-7651-1C74-8EAC-3A9A9B38B084}"/>
              </a:ext>
            </a:extLst>
          </p:cNvPr>
          <p:cNvSpPr txBox="1"/>
          <p:nvPr/>
        </p:nvSpPr>
        <p:spPr>
          <a:xfrm>
            <a:off x="2146454" y="5517093"/>
            <a:ext cx="72327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5%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BF8FD95-6C8E-07A5-2EF2-E26478FB8FFF}"/>
              </a:ext>
            </a:extLst>
          </p:cNvPr>
          <p:cNvSpPr txBox="1"/>
          <p:nvPr/>
        </p:nvSpPr>
        <p:spPr>
          <a:xfrm>
            <a:off x="2138440" y="5801661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4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CA11A33-E314-ECE7-DCE1-80F4CC6BFA28}"/>
              </a:ext>
            </a:extLst>
          </p:cNvPr>
          <p:cNvSpPr txBox="1"/>
          <p:nvPr/>
        </p:nvSpPr>
        <p:spPr>
          <a:xfrm>
            <a:off x="2138440" y="6075348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6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39DD170-0E15-BF09-9EB9-25358240F0AC}"/>
              </a:ext>
            </a:extLst>
          </p:cNvPr>
          <p:cNvSpPr txBox="1"/>
          <p:nvPr/>
        </p:nvSpPr>
        <p:spPr>
          <a:xfrm>
            <a:off x="2392559" y="6319881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BAC5721-9ACE-0601-0C19-FC46E5BBD8E2}"/>
              </a:ext>
            </a:extLst>
          </p:cNvPr>
          <p:cNvSpPr txBox="1"/>
          <p:nvPr/>
        </p:nvSpPr>
        <p:spPr>
          <a:xfrm>
            <a:off x="2145653" y="4892594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80C6F4E7-1995-6AE0-CACF-2794B7EBF7CD}"/>
              </a:ext>
            </a:extLst>
          </p:cNvPr>
          <p:cNvSpPr/>
          <p:nvPr/>
        </p:nvSpPr>
        <p:spPr>
          <a:xfrm>
            <a:off x="2109492" y="4743511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F14615C-F6BC-9525-8D45-89F2CC94CDCA}"/>
              </a:ext>
            </a:extLst>
          </p:cNvPr>
          <p:cNvSpPr txBox="1"/>
          <p:nvPr/>
        </p:nvSpPr>
        <p:spPr>
          <a:xfrm>
            <a:off x="2120504" y="4675224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70B9AC9D-639A-0DBB-9E1A-B9EF8D3AE26B}"/>
              </a:ext>
            </a:extLst>
          </p:cNvPr>
          <p:cNvSpPr/>
          <p:nvPr/>
        </p:nvSpPr>
        <p:spPr>
          <a:xfrm>
            <a:off x="3693151" y="5157356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55" name="TextBox 2054">
            <a:extLst>
              <a:ext uri="{FF2B5EF4-FFF2-40B4-BE49-F238E27FC236}">
                <a16:creationId xmlns:a16="http://schemas.microsoft.com/office/drawing/2014/main" id="{EBAE0E65-F9BA-9D5B-9B0F-5B1EE13AEA1C}"/>
              </a:ext>
            </a:extLst>
          </p:cNvPr>
          <p:cNvSpPr txBox="1"/>
          <p:nvPr/>
        </p:nvSpPr>
        <p:spPr>
          <a:xfrm>
            <a:off x="3552429" y="4745920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2056" name="TextBox 2055">
            <a:extLst>
              <a:ext uri="{FF2B5EF4-FFF2-40B4-BE49-F238E27FC236}">
                <a16:creationId xmlns:a16="http://schemas.microsoft.com/office/drawing/2014/main" id="{CE489C6C-B308-415D-1759-183EA48EE9E3}"/>
              </a:ext>
            </a:extLst>
          </p:cNvPr>
          <p:cNvSpPr txBox="1"/>
          <p:nvPr/>
        </p:nvSpPr>
        <p:spPr>
          <a:xfrm>
            <a:off x="3407074" y="6107759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2058" name="사각형: 둥근 모서리 2057">
            <a:extLst>
              <a:ext uri="{FF2B5EF4-FFF2-40B4-BE49-F238E27FC236}">
                <a16:creationId xmlns:a16="http://schemas.microsoft.com/office/drawing/2014/main" id="{80BF0AA0-AA46-5BF0-7887-C89217255179}"/>
              </a:ext>
            </a:extLst>
          </p:cNvPr>
          <p:cNvSpPr/>
          <p:nvPr/>
        </p:nvSpPr>
        <p:spPr>
          <a:xfrm>
            <a:off x="4754052" y="4546196"/>
            <a:ext cx="2123072" cy="20736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68" name="TextBox 2067">
            <a:extLst>
              <a:ext uri="{FF2B5EF4-FFF2-40B4-BE49-F238E27FC236}">
                <a16:creationId xmlns:a16="http://schemas.microsoft.com/office/drawing/2014/main" id="{68DB1380-016E-91A9-6E1A-6211044EBDA7}"/>
              </a:ext>
            </a:extLst>
          </p:cNvPr>
          <p:cNvSpPr txBox="1"/>
          <p:nvPr/>
        </p:nvSpPr>
        <p:spPr>
          <a:xfrm>
            <a:off x="5248280" y="4451983"/>
            <a:ext cx="1146724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69" name="화살표: 오른쪽 2068">
            <a:extLst>
              <a:ext uri="{FF2B5EF4-FFF2-40B4-BE49-F238E27FC236}">
                <a16:creationId xmlns:a16="http://schemas.microsoft.com/office/drawing/2014/main" id="{875D10F6-5D50-67A2-E9DC-B28DFC66F9EA}"/>
              </a:ext>
            </a:extLst>
          </p:cNvPr>
          <p:cNvSpPr/>
          <p:nvPr/>
        </p:nvSpPr>
        <p:spPr>
          <a:xfrm>
            <a:off x="3216865" y="4924523"/>
            <a:ext cx="1843412" cy="194364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70" name="화살표: 오른쪽 2069">
            <a:extLst>
              <a:ext uri="{FF2B5EF4-FFF2-40B4-BE49-F238E27FC236}">
                <a16:creationId xmlns:a16="http://schemas.microsoft.com/office/drawing/2014/main" id="{BE10BA9B-70AB-0397-7CA4-55502943B279}"/>
              </a:ext>
            </a:extLst>
          </p:cNvPr>
          <p:cNvSpPr/>
          <p:nvPr/>
        </p:nvSpPr>
        <p:spPr>
          <a:xfrm>
            <a:off x="3247713" y="5865474"/>
            <a:ext cx="1847418" cy="194363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2077" name="그림 2076">
            <a:extLst>
              <a:ext uri="{FF2B5EF4-FFF2-40B4-BE49-F238E27FC236}">
                <a16:creationId xmlns:a16="http://schemas.microsoft.com/office/drawing/2014/main" id="{52AB760C-3778-0D72-C001-24CA5D006A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1899" y="5731677"/>
            <a:ext cx="396000" cy="377582"/>
          </a:xfrm>
          <a:prstGeom prst="rect">
            <a:avLst/>
          </a:prstGeom>
        </p:spPr>
      </p:pic>
      <p:sp>
        <p:nvSpPr>
          <p:cNvPr id="2078" name="TextBox 2077">
            <a:extLst>
              <a:ext uri="{FF2B5EF4-FFF2-40B4-BE49-F238E27FC236}">
                <a16:creationId xmlns:a16="http://schemas.microsoft.com/office/drawing/2014/main" id="{68F8BEBC-A7C2-5D87-9AC9-11BAD4DA21AC}"/>
              </a:ext>
            </a:extLst>
          </p:cNvPr>
          <p:cNvSpPr txBox="1"/>
          <p:nvPr/>
        </p:nvSpPr>
        <p:spPr>
          <a:xfrm>
            <a:off x="5458965" y="4935806"/>
            <a:ext cx="705642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ppm</a:t>
            </a:r>
          </a:p>
        </p:txBody>
      </p:sp>
      <p:sp>
        <p:nvSpPr>
          <p:cNvPr id="2079" name="사각형: 둥근 모서리 2078">
            <a:extLst>
              <a:ext uri="{FF2B5EF4-FFF2-40B4-BE49-F238E27FC236}">
                <a16:creationId xmlns:a16="http://schemas.microsoft.com/office/drawing/2014/main" id="{F318A269-8353-D692-B6F5-CBC1A94F9C99}"/>
              </a:ext>
            </a:extLst>
          </p:cNvPr>
          <p:cNvSpPr/>
          <p:nvPr/>
        </p:nvSpPr>
        <p:spPr>
          <a:xfrm>
            <a:off x="5405973" y="4786723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0" name="TextBox 2079">
            <a:extLst>
              <a:ext uri="{FF2B5EF4-FFF2-40B4-BE49-F238E27FC236}">
                <a16:creationId xmlns:a16="http://schemas.microsoft.com/office/drawing/2014/main" id="{E8853092-FAE5-086D-FE39-26D348B282DB}"/>
              </a:ext>
            </a:extLst>
          </p:cNvPr>
          <p:cNvSpPr txBox="1"/>
          <p:nvPr/>
        </p:nvSpPr>
        <p:spPr>
          <a:xfrm>
            <a:off x="5416985" y="4718436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1" name="사각형: 둥근 모서리 2080">
            <a:extLst>
              <a:ext uri="{FF2B5EF4-FFF2-40B4-BE49-F238E27FC236}">
                <a16:creationId xmlns:a16="http://schemas.microsoft.com/office/drawing/2014/main" id="{259931F4-1A1D-62C4-4502-05373EEF8320}"/>
              </a:ext>
            </a:extLst>
          </p:cNvPr>
          <p:cNvSpPr/>
          <p:nvPr/>
        </p:nvSpPr>
        <p:spPr>
          <a:xfrm>
            <a:off x="5419711" y="5358294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2" name="TextBox 2081">
            <a:extLst>
              <a:ext uri="{FF2B5EF4-FFF2-40B4-BE49-F238E27FC236}">
                <a16:creationId xmlns:a16="http://schemas.microsoft.com/office/drawing/2014/main" id="{BE993214-2390-6D83-8CF3-4D5BCB28C143}"/>
              </a:ext>
            </a:extLst>
          </p:cNvPr>
          <p:cNvSpPr txBox="1"/>
          <p:nvPr/>
        </p:nvSpPr>
        <p:spPr>
          <a:xfrm>
            <a:off x="5399814" y="528361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9384F36F-805C-CADE-E9C9-7FEB5FC14D80}"/>
              </a:ext>
            </a:extLst>
          </p:cNvPr>
          <p:cNvSpPr txBox="1"/>
          <p:nvPr/>
        </p:nvSpPr>
        <p:spPr>
          <a:xfrm>
            <a:off x="5441919" y="5541437"/>
            <a:ext cx="756938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2    ppm</a:t>
            </a:r>
          </a:p>
        </p:txBody>
      </p:sp>
      <p:sp>
        <p:nvSpPr>
          <p:cNvPr id="2085" name="TextBox 2084">
            <a:extLst>
              <a:ext uri="{FF2B5EF4-FFF2-40B4-BE49-F238E27FC236}">
                <a16:creationId xmlns:a16="http://schemas.microsoft.com/office/drawing/2014/main" id="{92B42908-1D95-8037-56DB-F36E7C9CF98D}"/>
              </a:ext>
            </a:extLst>
          </p:cNvPr>
          <p:cNvSpPr txBox="1"/>
          <p:nvPr/>
        </p:nvSpPr>
        <p:spPr>
          <a:xfrm>
            <a:off x="5449931" y="5826005"/>
            <a:ext cx="740908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      ppm</a:t>
            </a:r>
          </a:p>
        </p:txBody>
      </p:sp>
      <p:sp>
        <p:nvSpPr>
          <p:cNvPr id="2087" name="TextBox 2086">
            <a:extLst>
              <a:ext uri="{FF2B5EF4-FFF2-40B4-BE49-F238E27FC236}">
                <a16:creationId xmlns:a16="http://schemas.microsoft.com/office/drawing/2014/main" id="{AF26B4B8-2D02-766F-EF59-4E669C9C499C}"/>
              </a:ext>
            </a:extLst>
          </p:cNvPr>
          <p:cNvSpPr txBox="1"/>
          <p:nvPr/>
        </p:nvSpPr>
        <p:spPr>
          <a:xfrm>
            <a:off x="5443607" y="6114206"/>
            <a:ext cx="782587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8 ppm</a:t>
            </a:r>
          </a:p>
        </p:txBody>
      </p:sp>
      <p:sp>
        <p:nvSpPr>
          <p:cNvPr id="2088" name="TextBox 2087">
            <a:extLst>
              <a:ext uri="{FF2B5EF4-FFF2-40B4-BE49-F238E27FC236}">
                <a16:creationId xmlns:a16="http://schemas.microsoft.com/office/drawing/2014/main" id="{C80EFE52-43DE-CD26-8684-4D5C55B34CF3}"/>
              </a:ext>
            </a:extLst>
          </p:cNvPr>
          <p:cNvSpPr txBox="1"/>
          <p:nvPr/>
        </p:nvSpPr>
        <p:spPr>
          <a:xfrm>
            <a:off x="5704852" y="6344225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102" name="TextBox 2101">
            <a:extLst>
              <a:ext uri="{FF2B5EF4-FFF2-40B4-BE49-F238E27FC236}">
                <a16:creationId xmlns:a16="http://schemas.microsoft.com/office/drawing/2014/main" id="{8D98087B-9982-2407-A4E3-03B8B36F3137}"/>
              </a:ext>
            </a:extLst>
          </p:cNvPr>
          <p:cNvSpPr txBox="1"/>
          <p:nvPr/>
        </p:nvSpPr>
        <p:spPr>
          <a:xfrm>
            <a:off x="3736166" y="5481065"/>
            <a:ext cx="598241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Model</a:t>
            </a:r>
            <a:endParaRPr lang="ko-KR" altLang="en-US" sz="1100" dirty="0">
              <a:solidFill>
                <a:srgbClr val="4472C4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03" name="TextBox 2102">
            <a:extLst>
              <a:ext uri="{FF2B5EF4-FFF2-40B4-BE49-F238E27FC236}">
                <a16:creationId xmlns:a16="http://schemas.microsoft.com/office/drawing/2014/main" id="{83F70DFE-1C2F-8A83-BA43-6218C9EF9904}"/>
              </a:ext>
            </a:extLst>
          </p:cNvPr>
          <p:cNvSpPr txBox="1"/>
          <p:nvPr/>
        </p:nvSpPr>
        <p:spPr>
          <a:xfrm>
            <a:off x="969884" y="6663680"/>
            <a:ext cx="5798383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최적화 과정을 통해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배출량 환경 기준을 만족하면서 </a:t>
            </a:r>
            <a:r>
              <a:rPr lang="ko-KR" altLang="en-US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소비량을 감소시키는 </a:t>
            </a:r>
            <a:r>
              <a:rPr lang="en-US" altLang="ko-KR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도출</a:t>
            </a:r>
          </a:p>
        </p:txBody>
      </p:sp>
      <p:sp>
        <p:nvSpPr>
          <p:cNvPr id="2107" name="직사각형 2106">
            <a:extLst>
              <a:ext uri="{FF2B5EF4-FFF2-40B4-BE49-F238E27FC236}">
                <a16:creationId xmlns:a16="http://schemas.microsoft.com/office/drawing/2014/main" id="{77140D0F-99F0-3A2B-8E99-00782099BF5D}"/>
              </a:ext>
            </a:extLst>
          </p:cNvPr>
          <p:cNvSpPr/>
          <p:nvPr/>
        </p:nvSpPr>
        <p:spPr>
          <a:xfrm>
            <a:off x="1911057" y="7150127"/>
            <a:ext cx="4198171" cy="134944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sp>
        <p:nvSpPr>
          <p:cNvPr id="2108" name="TextBox 2107">
            <a:extLst>
              <a:ext uri="{FF2B5EF4-FFF2-40B4-BE49-F238E27FC236}">
                <a16:creationId xmlns:a16="http://schemas.microsoft.com/office/drawing/2014/main" id="{63530DEC-30C1-99EA-490E-54CB94ACD3C1}"/>
              </a:ext>
            </a:extLst>
          </p:cNvPr>
          <p:cNvSpPr txBox="1"/>
          <p:nvPr/>
        </p:nvSpPr>
        <p:spPr>
          <a:xfrm>
            <a:off x="3233349" y="8510547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4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2" name="TextBox 2111">
            <a:extLst>
              <a:ext uri="{FF2B5EF4-FFF2-40B4-BE49-F238E27FC236}">
                <a16:creationId xmlns:a16="http://schemas.microsoft.com/office/drawing/2014/main" id="{67D0A2EF-A143-D21B-36B5-930A176B605C}"/>
              </a:ext>
            </a:extLst>
          </p:cNvPr>
          <p:cNvSpPr txBox="1"/>
          <p:nvPr/>
        </p:nvSpPr>
        <p:spPr>
          <a:xfrm>
            <a:off x="6112857" y="8378668"/>
            <a:ext cx="87876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hour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113" name="TextBox 2112">
            <a:extLst>
              <a:ext uri="{FF2B5EF4-FFF2-40B4-BE49-F238E27FC236}">
                <a16:creationId xmlns:a16="http://schemas.microsoft.com/office/drawing/2014/main" id="{C17A65EE-678B-65EF-3019-67821ACB699F}"/>
              </a:ext>
            </a:extLst>
          </p:cNvPr>
          <p:cNvSpPr txBox="1"/>
          <p:nvPr/>
        </p:nvSpPr>
        <p:spPr>
          <a:xfrm>
            <a:off x="3998151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6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5" name="TextBox 2114">
            <a:extLst>
              <a:ext uri="{FF2B5EF4-FFF2-40B4-BE49-F238E27FC236}">
                <a16:creationId xmlns:a16="http://schemas.microsoft.com/office/drawing/2014/main" id="{A2A700D0-E252-6EBD-3787-CA231A67F322}"/>
              </a:ext>
            </a:extLst>
          </p:cNvPr>
          <p:cNvSpPr txBox="1"/>
          <p:nvPr/>
        </p:nvSpPr>
        <p:spPr>
          <a:xfrm>
            <a:off x="2405047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7" name="TextBox 2116">
            <a:extLst>
              <a:ext uri="{FF2B5EF4-FFF2-40B4-BE49-F238E27FC236}">
                <a16:creationId xmlns:a16="http://schemas.microsoft.com/office/drawing/2014/main" id="{887F6759-23A9-2CAE-7F7B-6B78395B9B82}"/>
              </a:ext>
            </a:extLst>
          </p:cNvPr>
          <p:cNvSpPr txBox="1"/>
          <p:nvPr/>
        </p:nvSpPr>
        <p:spPr>
          <a:xfrm>
            <a:off x="779404" y="7144960"/>
            <a:ext cx="112562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사용량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 algn="r"/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누적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cxnSp>
        <p:nvCxnSpPr>
          <p:cNvPr id="2119" name="직선 연결선 2118">
            <a:extLst>
              <a:ext uri="{FF2B5EF4-FFF2-40B4-BE49-F238E27FC236}">
                <a16:creationId xmlns:a16="http://schemas.microsoft.com/office/drawing/2014/main" id="{EC3A6757-607B-0723-1D35-E4ADA84CE984}"/>
              </a:ext>
            </a:extLst>
          </p:cNvPr>
          <p:cNvCxnSpPr>
            <a:cxnSpLocks/>
          </p:cNvCxnSpPr>
          <p:nvPr/>
        </p:nvCxnSpPr>
        <p:spPr>
          <a:xfrm flipV="1">
            <a:off x="1901052" y="8263584"/>
            <a:ext cx="811104" cy="246221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1" name="직선 연결선 2120">
            <a:extLst>
              <a:ext uri="{FF2B5EF4-FFF2-40B4-BE49-F238E27FC236}">
                <a16:creationId xmlns:a16="http://schemas.microsoft.com/office/drawing/2014/main" id="{C6C5168E-3037-D7DA-8E00-A6A0D783D576}"/>
              </a:ext>
            </a:extLst>
          </p:cNvPr>
          <p:cNvCxnSpPr>
            <a:cxnSpLocks/>
          </p:cNvCxnSpPr>
          <p:nvPr/>
        </p:nvCxnSpPr>
        <p:spPr>
          <a:xfrm flipV="1">
            <a:off x="2681987" y="8065942"/>
            <a:ext cx="850059" cy="20960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7" name="직선 연결선 2126">
            <a:extLst>
              <a:ext uri="{FF2B5EF4-FFF2-40B4-BE49-F238E27FC236}">
                <a16:creationId xmlns:a16="http://schemas.microsoft.com/office/drawing/2014/main" id="{BB630A17-3730-757D-FDC5-EDB48A912265}"/>
              </a:ext>
            </a:extLst>
          </p:cNvPr>
          <p:cNvCxnSpPr>
            <a:cxnSpLocks/>
          </p:cNvCxnSpPr>
          <p:nvPr/>
        </p:nvCxnSpPr>
        <p:spPr>
          <a:xfrm flipV="1">
            <a:off x="3532046" y="7769033"/>
            <a:ext cx="780265" cy="296909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8" name="직선 연결선 2127">
            <a:extLst>
              <a:ext uri="{FF2B5EF4-FFF2-40B4-BE49-F238E27FC236}">
                <a16:creationId xmlns:a16="http://schemas.microsoft.com/office/drawing/2014/main" id="{A553F648-000C-2FF4-B9A9-DA561AF1C45D}"/>
              </a:ext>
            </a:extLst>
          </p:cNvPr>
          <p:cNvCxnSpPr>
            <a:cxnSpLocks/>
          </p:cNvCxnSpPr>
          <p:nvPr/>
        </p:nvCxnSpPr>
        <p:spPr>
          <a:xfrm flipV="1">
            <a:off x="4309572" y="7406423"/>
            <a:ext cx="698894" cy="36261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9" name="TextBox 2128">
            <a:extLst>
              <a:ext uri="{FF2B5EF4-FFF2-40B4-BE49-F238E27FC236}">
                <a16:creationId xmlns:a16="http://schemas.microsoft.com/office/drawing/2014/main" id="{8FF8232D-6B67-5CD2-A7F5-52EBDC7EF9E8}"/>
              </a:ext>
            </a:extLst>
          </p:cNvPr>
          <p:cNvSpPr txBox="1"/>
          <p:nvPr/>
        </p:nvSpPr>
        <p:spPr>
          <a:xfrm>
            <a:off x="4738671" y="8511408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8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130" name="직선 연결선 2129">
            <a:extLst>
              <a:ext uri="{FF2B5EF4-FFF2-40B4-BE49-F238E27FC236}">
                <a16:creationId xmlns:a16="http://schemas.microsoft.com/office/drawing/2014/main" id="{E5E2B3FD-7D4B-2B0E-F81E-C4481942A77B}"/>
              </a:ext>
            </a:extLst>
          </p:cNvPr>
          <p:cNvCxnSpPr>
            <a:cxnSpLocks/>
          </p:cNvCxnSpPr>
          <p:nvPr/>
        </p:nvCxnSpPr>
        <p:spPr>
          <a:xfrm flipV="1">
            <a:off x="1901316" y="8325311"/>
            <a:ext cx="807211" cy="184494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1" name="직선 연결선 2130">
            <a:extLst>
              <a:ext uri="{FF2B5EF4-FFF2-40B4-BE49-F238E27FC236}">
                <a16:creationId xmlns:a16="http://schemas.microsoft.com/office/drawing/2014/main" id="{412A028A-5CAF-69A3-843C-C53B07FF3A4F}"/>
              </a:ext>
            </a:extLst>
          </p:cNvPr>
          <p:cNvCxnSpPr>
            <a:cxnSpLocks/>
          </p:cNvCxnSpPr>
          <p:nvPr/>
        </p:nvCxnSpPr>
        <p:spPr>
          <a:xfrm flipV="1">
            <a:off x="2682251" y="8123998"/>
            <a:ext cx="850059" cy="20960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직선 연결선 2131">
            <a:extLst>
              <a:ext uri="{FF2B5EF4-FFF2-40B4-BE49-F238E27FC236}">
                <a16:creationId xmlns:a16="http://schemas.microsoft.com/office/drawing/2014/main" id="{2C5C9E11-411C-6351-FCC8-FF4AD77DA5FA}"/>
              </a:ext>
            </a:extLst>
          </p:cNvPr>
          <p:cNvCxnSpPr>
            <a:cxnSpLocks/>
          </p:cNvCxnSpPr>
          <p:nvPr/>
        </p:nvCxnSpPr>
        <p:spPr>
          <a:xfrm flipV="1">
            <a:off x="3532325" y="7889882"/>
            <a:ext cx="801802" cy="23593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7" name="직선 연결선 2136">
            <a:extLst>
              <a:ext uri="{FF2B5EF4-FFF2-40B4-BE49-F238E27FC236}">
                <a16:creationId xmlns:a16="http://schemas.microsoft.com/office/drawing/2014/main" id="{67C8278F-BF8A-A298-FF81-7D500A3F2988}"/>
              </a:ext>
            </a:extLst>
          </p:cNvPr>
          <p:cNvCxnSpPr>
            <a:cxnSpLocks/>
          </p:cNvCxnSpPr>
          <p:nvPr/>
        </p:nvCxnSpPr>
        <p:spPr>
          <a:xfrm flipV="1">
            <a:off x="4309836" y="7556053"/>
            <a:ext cx="691949" cy="343606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8" name="화살표: 아래쪽 2137">
            <a:extLst>
              <a:ext uri="{FF2B5EF4-FFF2-40B4-BE49-F238E27FC236}">
                <a16:creationId xmlns:a16="http://schemas.microsoft.com/office/drawing/2014/main" id="{BF6DCEE1-887A-C2AE-7071-F4E7DC45544B}"/>
              </a:ext>
            </a:extLst>
          </p:cNvPr>
          <p:cNvSpPr/>
          <p:nvPr/>
        </p:nvSpPr>
        <p:spPr>
          <a:xfrm>
            <a:off x="3797991" y="7826579"/>
            <a:ext cx="222790" cy="290208"/>
          </a:xfrm>
          <a:prstGeom prst="down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139" name="TextBox 2138">
            <a:extLst>
              <a:ext uri="{FF2B5EF4-FFF2-40B4-BE49-F238E27FC236}">
                <a16:creationId xmlns:a16="http://schemas.microsoft.com/office/drawing/2014/main" id="{BA92F900-55D5-90E2-3891-2060D956AF80}"/>
              </a:ext>
            </a:extLst>
          </p:cNvPr>
          <p:cNvSpPr txBox="1"/>
          <p:nvPr/>
        </p:nvSpPr>
        <p:spPr>
          <a:xfrm>
            <a:off x="3948988" y="7233247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0" name="TextBox 2139">
            <a:extLst>
              <a:ext uri="{FF2B5EF4-FFF2-40B4-BE49-F238E27FC236}">
                <a16:creationId xmlns:a16="http://schemas.microsoft.com/office/drawing/2014/main" id="{9EAFB5B9-DB74-09FD-2BE2-68FA1249D186}"/>
              </a:ext>
            </a:extLst>
          </p:cNvPr>
          <p:cNvSpPr txBox="1"/>
          <p:nvPr/>
        </p:nvSpPr>
        <p:spPr>
          <a:xfrm>
            <a:off x="4841700" y="7580463"/>
            <a:ext cx="123944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Optimized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1" name="TextBox 2140">
            <a:extLst>
              <a:ext uri="{FF2B5EF4-FFF2-40B4-BE49-F238E27FC236}">
                <a16:creationId xmlns:a16="http://schemas.microsoft.com/office/drawing/2014/main" id="{5B6147D2-1ED8-383D-41F6-BC401DF74FB1}"/>
              </a:ext>
            </a:extLst>
          </p:cNvPr>
          <p:cNvSpPr txBox="1"/>
          <p:nvPr/>
        </p:nvSpPr>
        <p:spPr>
          <a:xfrm>
            <a:off x="4012665" y="8052381"/>
            <a:ext cx="207620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암모니아 사용량 절감</a:t>
            </a:r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2.5% </a:t>
            </a:r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이상</a:t>
            </a:r>
          </a:p>
        </p:txBody>
      </p:sp>
    </p:spTree>
    <p:extLst>
      <p:ext uri="{BB962C8B-B14F-4D97-AF65-F5344CB8AC3E}">
        <p14:creationId xmlns:p14="http://schemas.microsoft.com/office/powerpoint/2010/main" val="28833748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4C3EA7D4-1F26-8FD1-FCA8-15BA91B7B7E0}"/>
              </a:ext>
            </a:extLst>
          </p:cNvPr>
          <p:cNvSpPr/>
          <p:nvPr/>
        </p:nvSpPr>
        <p:spPr>
          <a:xfrm>
            <a:off x="2107418" y="5359350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A5260DBE-15D9-38EB-0677-B8BD85613C8E}"/>
              </a:ext>
            </a:extLst>
          </p:cNvPr>
          <p:cNvSpPr/>
          <p:nvPr/>
        </p:nvSpPr>
        <p:spPr>
          <a:xfrm>
            <a:off x="4715827" y="2854436"/>
            <a:ext cx="2132269" cy="104756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F01C892D-87B8-F7C9-C5D7-DC6E74BCB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4250" y="1106010"/>
            <a:ext cx="819264" cy="7811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49B05C5-78F3-6DFF-C048-5ECDF77DF2D7}"/>
              </a:ext>
            </a:extLst>
          </p:cNvPr>
          <p:cNvSpPr txBox="1"/>
          <p:nvPr/>
        </p:nvSpPr>
        <p:spPr>
          <a:xfrm>
            <a:off x="858146" y="1877027"/>
            <a:ext cx="228306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Prediction Model</a:t>
            </a:r>
          </a:p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Artificial Neural Network)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14" name="그림 13" descr="라인, 그래프, 도표, 스크린샷이(가) 표시된 사진&#10;&#10;자동 생성된 설명">
            <a:extLst>
              <a:ext uri="{FF2B5EF4-FFF2-40B4-BE49-F238E27FC236}">
                <a16:creationId xmlns:a16="http://schemas.microsoft.com/office/drawing/2014/main" id="{375205A2-2B50-D2A1-7EDA-7BD3E0358C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" r="-1"/>
          <a:stretch/>
        </p:blipFill>
        <p:spPr>
          <a:xfrm>
            <a:off x="4564657" y="1297698"/>
            <a:ext cx="2160000" cy="1092161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9EE77085-6559-A77C-D788-7F76DD87BF7E}"/>
              </a:ext>
            </a:extLst>
          </p:cNvPr>
          <p:cNvSpPr/>
          <p:nvPr/>
        </p:nvSpPr>
        <p:spPr>
          <a:xfrm>
            <a:off x="713793" y="931181"/>
            <a:ext cx="6480000" cy="339373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6" name="화살표: 오른쪽 15">
            <a:extLst>
              <a:ext uri="{FF2B5EF4-FFF2-40B4-BE49-F238E27FC236}">
                <a16:creationId xmlns:a16="http://schemas.microsoft.com/office/drawing/2014/main" id="{E437853C-354D-F9AA-C993-2F6AD6CB9D01}"/>
              </a:ext>
            </a:extLst>
          </p:cNvPr>
          <p:cNvSpPr/>
          <p:nvPr/>
        </p:nvSpPr>
        <p:spPr>
          <a:xfrm>
            <a:off x="3154218" y="1694486"/>
            <a:ext cx="763467" cy="196538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27172D-BC58-B7F9-005C-A16E59B65DC9}"/>
              </a:ext>
            </a:extLst>
          </p:cNvPr>
          <p:cNvSpPr txBox="1"/>
          <p:nvPr/>
        </p:nvSpPr>
        <p:spPr>
          <a:xfrm>
            <a:off x="3878315" y="1081937"/>
            <a:ext cx="771365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</a:t>
            </a:r>
          </a:p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7A783-E4F4-30C6-5F4B-51765D7B0DD0}"/>
              </a:ext>
            </a:extLst>
          </p:cNvPr>
          <p:cNvSpPr txBox="1"/>
          <p:nvPr/>
        </p:nvSpPr>
        <p:spPr>
          <a:xfrm>
            <a:off x="6637960" y="2120926"/>
            <a:ext cx="550151" cy="269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Time</a:t>
            </a:r>
            <a:endParaRPr lang="ko-KR" altLang="en-US" sz="11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2199A3-3684-2315-811E-F2D7FD46F247}"/>
              </a:ext>
            </a:extLst>
          </p:cNvPr>
          <p:cNvSpPr txBox="1"/>
          <p:nvPr/>
        </p:nvSpPr>
        <p:spPr>
          <a:xfrm>
            <a:off x="4789317" y="1188893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5E3F6A-66EC-8F32-C7CE-9CD73743BF9C}"/>
              </a:ext>
            </a:extLst>
          </p:cNvPr>
          <p:cNvSpPr txBox="1"/>
          <p:nvPr/>
        </p:nvSpPr>
        <p:spPr>
          <a:xfrm>
            <a:off x="4774890" y="2039332"/>
            <a:ext cx="12378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AC2ABEA3-4B84-B657-FB16-D0F212BAAA27}"/>
              </a:ext>
            </a:extLst>
          </p:cNvPr>
          <p:cNvSpPr/>
          <p:nvPr/>
        </p:nvSpPr>
        <p:spPr>
          <a:xfrm>
            <a:off x="713792" y="4411560"/>
            <a:ext cx="6480000" cy="43598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BBAAAA9-B0B5-6DDE-BCCC-CBEB5FFAA338}"/>
              </a:ext>
            </a:extLst>
          </p:cNvPr>
          <p:cNvSpPr txBox="1"/>
          <p:nvPr/>
        </p:nvSpPr>
        <p:spPr>
          <a:xfrm>
            <a:off x="2087521" y="526108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A986F3-77EE-CB9B-F1E8-C8347FAEF75C}"/>
              </a:ext>
            </a:extLst>
          </p:cNvPr>
          <p:cNvSpPr txBox="1"/>
          <p:nvPr/>
        </p:nvSpPr>
        <p:spPr>
          <a:xfrm>
            <a:off x="5287076" y="3078786"/>
            <a:ext cx="960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  pp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F65B9FD-1F41-5C68-F32C-646C9554A29D}"/>
              </a:ext>
            </a:extLst>
          </p:cNvPr>
          <p:cNvSpPr txBox="1"/>
          <p:nvPr/>
        </p:nvSpPr>
        <p:spPr>
          <a:xfrm>
            <a:off x="2073952" y="3248437"/>
            <a:ext cx="9189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7E8648-CF47-2248-494C-6FA4D674CF6F}"/>
              </a:ext>
            </a:extLst>
          </p:cNvPr>
          <p:cNvSpPr txBox="1"/>
          <p:nvPr/>
        </p:nvSpPr>
        <p:spPr>
          <a:xfrm>
            <a:off x="5275854" y="3482509"/>
            <a:ext cx="9829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2 pp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C4F1C8-F688-FE90-BD55-AE80A5E3C42E}"/>
              </a:ext>
            </a:extLst>
          </p:cNvPr>
          <p:cNvSpPr txBox="1"/>
          <p:nvPr/>
        </p:nvSpPr>
        <p:spPr>
          <a:xfrm>
            <a:off x="1131965" y="2933634"/>
            <a:ext cx="864340" cy="10307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5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7CA9EC2B-4C1D-2D92-123A-DC854443E741}"/>
              </a:ext>
            </a:extLst>
          </p:cNvPr>
          <p:cNvSpPr/>
          <p:nvPr/>
        </p:nvSpPr>
        <p:spPr>
          <a:xfrm>
            <a:off x="1020095" y="2857434"/>
            <a:ext cx="2044633" cy="11151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BA966E-7990-3A4D-17F8-F7F2C063398E}"/>
              </a:ext>
            </a:extLst>
          </p:cNvPr>
          <p:cNvSpPr txBox="1"/>
          <p:nvPr/>
        </p:nvSpPr>
        <p:spPr>
          <a:xfrm>
            <a:off x="1571490" y="2654684"/>
            <a:ext cx="704039" cy="36067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3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3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1" name="화살표: 오른쪽 30">
            <a:extLst>
              <a:ext uri="{FF2B5EF4-FFF2-40B4-BE49-F238E27FC236}">
                <a16:creationId xmlns:a16="http://schemas.microsoft.com/office/drawing/2014/main" id="{ED8883CB-97A9-0C79-A269-EFF2BA16B25B}"/>
              </a:ext>
            </a:extLst>
          </p:cNvPr>
          <p:cNvSpPr/>
          <p:nvPr/>
        </p:nvSpPr>
        <p:spPr>
          <a:xfrm>
            <a:off x="3147513" y="3117530"/>
            <a:ext cx="1924239" cy="129704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FCAF1E-6459-F789-C330-46A0D8BAB403}"/>
              </a:ext>
            </a:extLst>
          </p:cNvPr>
          <p:cNvSpPr txBox="1"/>
          <p:nvPr/>
        </p:nvSpPr>
        <p:spPr>
          <a:xfrm>
            <a:off x="5231121" y="2625656"/>
            <a:ext cx="1146724" cy="3400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DD63FB88-DF58-A3B7-F226-9FDD0300E644}"/>
              </a:ext>
            </a:extLst>
          </p:cNvPr>
          <p:cNvSpPr/>
          <p:nvPr/>
        </p:nvSpPr>
        <p:spPr>
          <a:xfrm>
            <a:off x="3147513" y="3508753"/>
            <a:ext cx="1924239" cy="140606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C626E62C-466A-23C9-D62C-D66A0A259D90}"/>
              </a:ext>
            </a:extLst>
          </p:cNvPr>
          <p:cNvSpPr/>
          <p:nvPr/>
        </p:nvSpPr>
        <p:spPr>
          <a:xfrm>
            <a:off x="3768706" y="3306820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56793D1F-E35C-B171-397E-D66E51E6B6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5050" y="3374955"/>
            <a:ext cx="396000" cy="37758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5C57DD5E-E4BC-4966-B434-3186CF3B996D}"/>
              </a:ext>
            </a:extLst>
          </p:cNvPr>
          <p:cNvSpPr txBox="1"/>
          <p:nvPr/>
        </p:nvSpPr>
        <p:spPr>
          <a:xfrm>
            <a:off x="3462880" y="2938926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B857D07-286C-10C7-FAD8-5CD35586F441}"/>
              </a:ext>
            </a:extLst>
          </p:cNvPr>
          <p:cNvSpPr txBox="1"/>
          <p:nvPr/>
        </p:nvSpPr>
        <p:spPr>
          <a:xfrm>
            <a:off x="3330225" y="3751037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FC52B90-F2D9-CB8A-AAAD-BEB9FB78034F}"/>
              </a:ext>
            </a:extLst>
          </p:cNvPr>
          <p:cNvSpPr txBox="1"/>
          <p:nvPr/>
        </p:nvSpPr>
        <p:spPr>
          <a:xfrm>
            <a:off x="4875724" y="3871502"/>
            <a:ext cx="1961050" cy="3400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예측 신뢰도 </a:t>
            </a: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90% </a:t>
            </a:r>
            <a:r>
              <a:rPr lang="ko-KR" altLang="en-US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이상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CB868FF-E0D5-9BE9-7A94-E5447147C520}"/>
              </a:ext>
            </a:extLst>
          </p:cNvPr>
          <p:cNvSpPr txBox="1"/>
          <p:nvPr/>
        </p:nvSpPr>
        <p:spPr>
          <a:xfrm>
            <a:off x="1153845" y="4926362"/>
            <a:ext cx="864340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</a:p>
          <a:p>
            <a:pPr algn="ctr">
              <a:lnSpc>
                <a:spcPct val="200000"/>
              </a:lnSpc>
            </a:pP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1000"/>
              </a:lnSpc>
            </a:pPr>
            <a:r>
              <a:rPr lang="en-US" altLang="ko-KR" sz="1600" b="1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/>
            <a:endParaRPr lang="en-US" altLang="ko-KR" sz="105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7747DBE0-D758-AAEA-9469-B3F3DA4EAF38}"/>
              </a:ext>
            </a:extLst>
          </p:cNvPr>
          <p:cNvSpPr/>
          <p:nvPr/>
        </p:nvSpPr>
        <p:spPr>
          <a:xfrm>
            <a:off x="1029276" y="4524554"/>
            <a:ext cx="2088536" cy="2095328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97E210-B853-555A-0587-F833EAF547B0}"/>
              </a:ext>
            </a:extLst>
          </p:cNvPr>
          <p:cNvSpPr txBox="1"/>
          <p:nvPr/>
        </p:nvSpPr>
        <p:spPr>
          <a:xfrm>
            <a:off x="1472906" y="4456914"/>
            <a:ext cx="665567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INPUT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44CBF5F-7651-1C74-8EAC-3A9A9B38B084}"/>
              </a:ext>
            </a:extLst>
          </p:cNvPr>
          <p:cNvSpPr txBox="1"/>
          <p:nvPr/>
        </p:nvSpPr>
        <p:spPr>
          <a:xfrm>
            <a:off x="2146454" y="5517093"/>
            <a:ext cx="72327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5%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BF8FD95-6C8E-07A5-2EF2-E26478FB8FFF}"/>
              </a:ext>
            </a:extLst>
          </p:cNvPr>
          <p:cNvSpPr txBox="1"/>
          <p:nvPr/>
        </p:nvSpPr>
        <p:spPr>
          <a:xfrm>
            <a:off x="2138440" y="5801661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4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CA11A33-E314-ECE7-DCE1-80F4CC6BFA28}"/>
              </a:ext>
            </a:extLst>
          </p:cNvPr>
          <p:cNvSpPr txBox="1"/>
          <p:nvPr/>
        </p:nvSpPr>
        <p:spPr>
          <a:xfrm>
            <a:off x="2138440" y="6088048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6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39DD170-0E15-BF09-9EB9-25358240F0AC}"/>
              </a:ext>
            </a:extLst>
          </p:cNvPr>
          <p:cNvSpPr txBox="1"/>
          <p:nvPr/>
        </p:nvSpPr>
        <p:spPr>
          <a:xfrm>
            <a:off x="2392559" y="6319881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BAC5721-9ACE-0601-0C19-FC46E5BBD8E2}"/>
              </a:ext>
            </a:extLst>
          </p:cNvPr>
          <p:cNvSpPr txBox="1"/>
          <p:nvPr/>
        </p:nvSpPr>
        <p:spPr>
          <a:xfrm>
            <a:off x="2145653" y="4892594"/>
            <a:ext cx="739305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7%</a:t>
            </a: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80C6F4E7-1995-6AE0-CACF-2794B7EBF7CD}"/>
              </a:ext>
            </a:extLst>
          </p:cNvPr>
          <p:cNvSpPr/>
          <p:nvPr/>
        </p:nvSpPr>
        <p:spPr>
          <a:xfrm>
            <a:off x="2109492" y="4743511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F14615C-F6BC-9525-8D45-89F2CC94CDCA}"/>
              </a:ext>
            </a:extLst>
          </p:cNvPr>
          <p:cNvSpPr txBox="1"/>
          <p:nvPr/>
        </p:nvSpPr>
        <p:spPr>
          <a:xfrm>
            <a:off x="2120504" y="4675224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70B9AC9D-639A-0DBB-9E1A-B9EF8D3AE26B}"/>
              </a:ext>
            </a:extLst>
          </p:cNvPr>
          <p:cNvSpPr/>
          <p:nvPr/>
        </p:nvSpPr>
        <p:spPr>
          <a:xfrm>
            <a:off x="3464551" y="5157356"/>
            <a:ext cx="396000" cy="547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55" name="TextBox 2054">
            <a:extLst>
              <a:ext uri="{FF2B5EF4-FFF2-40B4-BE49-F238E27FC236}">
                <a16:creationId xmlns:a16="http://schemas.microsoft.com/office/drawing/2014/main" id="{EBAE0E65-F9BA-9D5B-9B0F-5B1EE13AEA1C}"/>
              </a:ext>
            </a:extLst>
          </p:cNvPr>
          <p:cNvSpPr txBox="1"/>
          <p:nvPr/>
        </p:nvSpPr>
        <p:spPr>
          <a:xfrm>
            <a:off x="3323829" y="4745920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</a:p>
        </p:txBody>
      </p:sp>
      <p:sp>
        <p:nvSpPr>
          <p:cNvPr id="2056" name="TextBox 2055">
            <a:extLst>
              <a:ext uri="{FF2B5EF4-FFF2-40B4-BE49-F238E27FC236}">
                <a16:creationId xmlns:a16="http://schemas.microsoft.com/office/drawing/2014/main" id="{CE489C6C-B308-415D-1759-183EA48EE9E3}"/>
              </a:ext>
            </a:extLst>
          </p:cNvPr>
          <p:cNvSpPr txBox="1"/>
          <p:nvPr/>
        </p:nvSpPr>
        <p:spPr>
          <a:xfrm>
            <a:off x="3178474" y="6107759"/>
            <a:ext cx="12923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Prediction Value</a:t>
            </a:r>
          </a:p>
        </p:txBody>
      </p:sp>
      <p:sp>
        <p:nvSpPr>
          <p:cNvPr id="2058" name="사각형: 둥근 모서리 2057">
            <a:extLst>
              <a:ext uri="{FF2B5EF4-FFF2-40B4-BE49-F238E27FC236}">
                <a16:creationId xmlns:a16="http://schemas.microsoft.com/office/drawing/2014/main" id="{80BF0AA0-AA46-5BF0-7887-C89217255179}"/>
              </a:ext>
            </a:extLst>
          </p:cNvPr>
          <p:cNvSpPr/>
          <p:nvPr/>
        </p:nvSpPr>
        <p:spPr>
          <a:xfrm>
            <a:off x="4470815" y="4546196"/>
            <a:ext cx="1371219" cy="207368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68" name="TextBox 2067">
            <a:extLst>
              <a:ext uri="{FF2B5EF4-FFF2-40B4-BE49-F238E27FC236}">
                <a16:creationId xmlns:a16="http://schemas.microsoft.com/office/drawing/2014/main" id="{68DB1380-016E-91A9-6E1A-6211044EBDA7}"/>
              </a:ext>
            </a:extLst>
          </p:cNvPr>
          <p:cNvSpPr txBox="1"/>
          <p:nvPr/>
        </p:nvSpPr>
        <p:spPr>
          <a:xfrm>
            <a:off x="4613280" y="4426583"/>
            <a:ext cx="1146724" cy="247697"/>
          </a:xfrm>
          <a:prstGeom prst="rect">
            <a:avLst/>
          </a:prstGeom>
          <a:solidFill>
            <a:schemeClr val="bg1"/>
          </a:solidFill>
        </p:spPr>
        <p:txBody>
          <a:bodyPr wrap="none" t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UTLET NOx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69" name="화살표: 오른쪽 2068">
            <a:extLst>
              <a:ext uri="{FF2B5EF4-FFF2-40B4-BE49-F238E27FC236}">
                <a16:creationId xmlns:a16="http://schemas.microsoft.com/office/drawing/2014/main" id="{875D10F6-5D50-67A2-E9DC-B28DFC66F9EA}"/>
              </a:ext>
            </a:extLst>
          </p:cNvPr>
          <p:cNvSpPr/>
          <p:nvPr/>
        </p:nvSpPr>
        <p:spPr>
          <a:xfrm>
            <a:off x="3216865" y="4924523"/>
            <a:ext cx="1432815" cy="163695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70" name="화살표: 오른쪽 2069">
            <a:extLst>
              <a:ext uri="{FF2B5EF4-FFF2-40B4-BE49-F238E27FC236}">
                <a16:creationId xmlns:a16="http://schemas.microsoft.com/office/drawing/2014/main" id="{BE10BA9B-70AB-0397-7CA4-55502943B279}"/>
              </a:ext>
            </a:extLst>
          </p:cNvPr>
          <p:cNvSpPr/>
          <p:nvPr/>
        </p:nvSpPr>
        <p:spPr>
          <a:xfrm>
            <a:off x="3247713" y="5865474"/>
            <a:ext cx="1401967" cy="182415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2077" name="그림 2076">
            <a:extLst>
              <a:ext uri="{FF2B5EF4-FFF2-40B4-BE49-F238E27FC236}">
                <a16:creationId xmlns:a16="http://schemas.microsoft.com/office/drawing/2014/main" id="{52AB760C-3778-0D72-C001-24CA5D006A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3299" y="5731677"/>
            <a:ext cx="396000" cy="377582"/>
          </a:xfrm>
          <a:prstGeom prst="rect">
            <a:avLst/>
          </a:prstGeom>
        </p:spPr>
      </p:pic>
      <p:sp>
        <p:nvSpPr>
          <p:cNvPr id="2078" name="TextBox 2077">
            <a:extLst>
              <a:ext uri="{FF2B5EF4-FFF2-40B4-BE49-F238E27FC236}">
                <a16:creationId xmlns:a16="http://schemas.microsoft.com/office/drawing/2014/main" id="{68F8BEBC-A7C2-5D87-9AC9-11BAD4DA21AC}"/>
              </a:ext>
            </a:extLst>
          </p:cNvPr>
          <p:cNvSpPr txBox="1"/>
          <p:nvPr/>
        </p:nvSpPr>
        <p:spPr>
          <a:xfrm>
            <a:off x="4773165" y="4935806"/>
            <a:ext cx="705642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 ppm</a:t>
            </a:r>
          </a:p>
        </p:txBody>
      </p:sp>
      <p:sp>
        <p:nvSpPr>
          <p:cNvPr id="2079" name="사각형: 둥근 모서리 2078">
            <a:extLst>
              <a:ext uri="{FF2B5EF4-FFF2-40B4-BE49-F238E27FC236}">
                <a16:creationId xmlns:a16="http://schemas.microsoft.com/office/drawing/2014/main" id="{F318A269-8353-D692-B6F5-CBC1A94F9C99}"/>
              </a:ext>
            </a:extLst>
          </p:cNvPr>
          <p:cNvSpPr/>
          <p:nvPr/>
        </p:nvSpPr>
        <p:spPr>
          <a:xfrm>
            <a:off x="4720173" y="4786723"/>
            <a:ext cx="833562" cy="431173"/>
          </a:xfrm>
          <a:prstGeom prst="roundRect">
            <a:avLst/>
          </a:prstGeom>
          <a:noFill/>
          <a:ln>
            <a:solidFill>
              <a:srgbClr val="F4B1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0" name="TextBox 2079">
            <a:extLst>
              <a:ext uri="{FF2B5EF4-FFF2-40B4-BE49-F238E27FC236}">
                <a16:creationId xmlns:a16="http://schemas.microsoft.com/office/drawing/2014/main" id="{E8853092-FAE5-086D-FE39-26D348B282DB}"/>
              </a:ext>
            </a:extLst>
          </p:cNvPr>
          <p:cNvSpPr txBox="1"/>
          <p:nvPr/>
        </p:nvSpPr>
        <p:spPr>
          <a:xfrm>
            <a:off x="4731185" y="4718436"/>
            <a:ext cx="822341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Actual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1" name="사각형: 둥근 모서리 2080">
            <a:extLst>
              <a:ext uri="{FF2B5EF4-FFF2-40B4-BE49-F238E27FC236}">
                <a16:creationId xmlns:a16="http://schemas.microsoft.com/office/drawing/2014/main" id="{259931F4-1A1D-62C4-4502-05373EEF8320}"/>
              </a:ext>
            </a:extLst>
          </p:cNvPr>
          <p:cNvSpPr/>
          <p:nvPr/>
        </p:nvSpPr>
        <p:spPr>
          <a:xfrm>
            <a:off x="4733911" y="5358294"/>
            <a:ext cx="833562" cy="1207917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082" name="TextBox 2081">
            <a:extLst>
              <a:ext uri="{FF2B5EF4-FFF2-40B4-BE49-F238E27FC236}">
                <a16:creationId xmlns:a16="http://schemas.microsoft.com/office/drawing/2014/main" id="{BE993214-2390-6D83-8CF3-4D5BCB28C143}"/>
              </a:ext>
            </a:extLst>
          </p:cNvPr>
          <p:cNvSpPr txBox="1"/>
          <p:nvPr/>
        </p:nvSpPr>
        <p:spPr>
          <a:xfrm>
            <a:off x="4714014" y="5283611"/>
            <a:ext cx="878447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ation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084" name="TextBox 2083">
            <a:extLst>
              <a:ext uri="{FF2B5EF4-FFF2-40B4-BE49-F238E27FC236}">
                <a16:creationId xmlns:a16="http://schemas.microsoft.com/office/drawing/2014/main" id="{9384F36F-805C-CADE-E9C9-7FEB5FC14D80}"/>
              </a:ext>
            </a:extLst>
          </p:cNvPr>
          <p:cNvSpPr txBox="1"/>
          <p:nvPr/>
        </p:nvSpPr>
        <p:spPr>
          <a:xfrm>
            <a:off x="4768819" y="5541437"/>
            <a:ext cx="756938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2    ppm</a:t>
            </a:r>
          </a:p>
        </p:txBody>
      </p:sp>
      <p:sp>
        <p:nvSpPr>
          <p:cNvPr id="2085" name="TextBox 2084">
            <a:extLst>
              <a:ext uri="{FF2B5EF4-FFF2-40B4-BE49-F238E27FC236}">
                <a16:creationId xmlns:a16="http://schemas.microsoft.com/office/drawing/2014/main" id="{92B42908-1D95-8037-56DB-F36E7C9CF98D}"/>
              </a:ext>
            </a:extLst>
          </p:cNvPr>
          <p:cNvSpPr txBox="1"/>
          <p:nvPr/>
        </p:nvSpPr>
        <p:spPr>
          <a:xfrm>
            <a:off x="4764131" y="5826005"/>
            <a:ext cx="740907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      ppm</a:t>
            </a:r>
          </a:p>
        </p:txBody>
      </p:sp>
      <p:sp>
        <p:nvSpPr>
          <p:cNvPr id="2087" name="TextBox 2086">
            <a:extLst>
              <a:ext uri="{FF2B5EF4-FFF2-40B4-BE49-F238E27FC236}">
                <a16:creationId xmlns:a16="http://schemas.microsoft.com/office/drawing/2014/main" id="{AF26B4B8-2D02-766F-EF59-4E669C9C499C}"/>
              </a:ext>
            </a:extLst>
          </p:cNvPr>
          <p:cNvSpPr txBox="1"/>
          <p:nvPr/>
        </p:nvSpPr>
        <p:spPr>
          <a:xfrm>
            <a:off x="4757807" y="6114206"/>
            <a:ext cx="782587" cy="2539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3.98 ppm</a:t>
            </a:r>
          </a:p>
        </p:txBody>
      </p:sp>
      <p:sp>
        <p:nvSpPr>
          <p:cNvPr id="2088" name="TextBox 2087">
            <a:extLst>
              <a:ext uri="{FF2B5EF4-FFF2-40B4-BE49-F238E27FC236}">
                <a16:creationId xmlns:a16="http://schemas.microsoft.com/office/drawing/2014/main" id="{C80EFE52-43DE-CD26-8684-4D5C55B34CF3}"/>
              </a:ext>
            </a:extLst>
          </p:cNvPr>
          <p:cNvSpPr txBox="1"/>
          <p:nvPr/>
        </p:nvSpPr>
        <p:spPr>
          <a:xfrm>
            <a:off x="5019052" y="6344225"/>
            <a:ext cx="237565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  <a:p>
            <a:pPr algn="ctr">
              <a:lnSpc>
                <a:spcPts val="400"/>
              </a:lnSpc>
            </a:pPr>
            <a:r>
              <a:rPr lang="en-US" altLang="ko-KR" sz="14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.</a:t>
            </a:r>
          </a:p>
        </p:txBody>
      </p:sp>
      <p:sp>
        <p:nvSpPr>
          <p:cNvPr id="2102" name="TextBox 2101">
            <a:extLst>
              <a:ext uri="{FF2B5EF4-FFF2-40B4-BE49-F238E27FC236}">
                <a16:creationId xmlns:a16="http://schemas.microsoft.com/office/drawing/2014/main" id="{8D98087B-9982-2407-A4E3-03B8B36F3137}"/>
              </a:ext>
            </a:extLst>
          </p:cNvPr>
          <p:cNvSpPr txBox="1"/>
          <p:nvPr/>
        </p:nvSpPr>
        <p:spPr>
          <a:xfrm>
            <a:off x="3507566" y="5481065"/>
            <a:ext cx="598241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solidFill>
                  <a:srgbClr val="4472C4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Model</a:t>
            </a:r>
            <a:endParaRPr lang="ko-KR" altLang="en-US" sz="1100" dirty="0">
              <a:solidFill>
                <a:srgbClr val="4472C4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03" name="TextBox 2102">
            <a:extLst>
              <a:ext uri="{FF2B5EF4-FFF2-40B4-BE49-F238E27FC236}">
                <a16:creationId xmlns:a16="http://schemas.microsoft.com/office/drawing/2014/main" id="{83F70DFE-1C2F-8A83-BA43-6218C9EF9904}"/>
              </a:ext>
            </a:extLst>
          </p:cNvPr>
          <p:cNvSpPr txBox="1"/>
          <p:nvPr/>
        </p:nvSpPr>
        <p:spPr>
          <a:xfrm>
            <a:off x="936527" y="6663680"/>
            <a:ext cx="5966697" cy="319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최적화 과정을 통해 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NOx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배출량 환경 기준을 만족하면서 </a:t>
            </a:r>
            <a:r>
              <a:rPr lang="ko-KR" altLang="en-US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소비량을 감소시키는 </a:t>
            </a:r>
            <a:r>
              <a:rPr lang="en-US" altLang="ko-KR" sz="1100" dirty="0">
                <a:solidFill>
                  <a:srgbClr val="C00000"/>
                </a:solidFill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 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도출</a:t>
            </a:r>
          </a:p>
        </p:txBody>
      </p:sp>
      <p:sp>
        <p:nvSpPr>
          <p:cNvPr id="2107" name="직사각형 2106">
            <a:extLst>
              <a:ext uri="{FF2B5EF4-FFF2-40B4-BE49-F238E27FC236}">
                <a16:creationId xmlns:a16="http://schemas.microsoft.com/office/drawing/2014/main" id="{77140D0F-99F0-3A2B-8E99-00782099BF5D}"/>
              </a:ext>
            </a:extLst>
          </p:cNvPr>
          <p:cNvSpPr/>
          <p:nvPr/>
        </p:nvSpPr>
        <p:spPr>
          <a:xfrm>
            <a:off x="1911057" y="7150127"/>
            <a:ext cx="4198171" cy="134944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sp>
        <p:nvSpPr>
          <p:cNvPr id="2108" name="TextBox 2107">
            <a:extLst>
              <a:ext uri="{FF2B5EF4-FFF2-40B4-BE49-F238E27FC236}">
                <a16:creationId xmlns:a16="http://schemas.microsoft.com/office/drawing/2014/main" id="{63530DEC-30C1-99EA-490E-54CB94ACD3C1}"/>
              </a:ext>
            </a:extLst>
          </p:cNvPr>
          <p:cNvSpPr txBox="1"/>
          <p:nvPr/>
        </p:nvSpPr>
        <p:spPr>
          <a:xfrm>
            <a:off x="3233349" y="8510547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4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2" name="TextBox 2111">
            <a:extLst>
              <a:ext uri="{FF2B5EF4-FFF2-40B4-BE49-F238E27FC236}">
                <a16:creationId xmlns:a16="http://schemas.microsoft.com/office/drawing/2014/main" id="{67D0A2EF-A143-D21B-36B5-930A176B605C}"/>
              </a:ext>
            </a:extLst>
          </p:cNvPr>
          <p:cNvSpPr txBox="1"/>
          <p:nvPr/>
        </p:nvSpPr>
        <p:spPr>
          <a:xfrm>
            <a:off x="6112857" y="8378668"/>
            <a:ext cx="87876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시간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hour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2113" name="TextBox 2112">
            <a:extLst>
              <a:ext uri="{FF2B5EF4-FFF2-40B4-BE49-F238E27FC236}">
                <a16:creationId xmlns:a16="http://schemas.microsoft.com/office/drawing/2014/main" id="{C17A65EE-678B-65EF-3019-67821ACB699F}"/>
              </a:ext>
            </a:extLst>
          </p:cNvPr>
          <p:cNvSpPr txBox="1"/>
          <p:nvPr/>
        </p:nvSpPr>
        <p:spPr>
          <a:xfrm>
            <a:off x="3998151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6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5" name="TextBox 2114">
            <a:extLst>
              <a:ext uri="{FF2B5EF4-FFF2-40B4-BE49-F238E27FC236}">
                <a16:creationId xmlns:a16="http://schemas.microsoft.com/office/drawing/2014/main" id="{A2A700D0-E252-6EBD-3787-CA231A67F322}"/>
              </a:ext>
            </a:extLst>
          </p:cNvPr>
          <p:cNvSpPr txBox="1"/>
          <p:nvPr/>
        </p:nvSpPr>
        <p:spPr>
          <a:xfrm>
            <a:off x="2405047" y="8509805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17" name="TextBox 2116">
            <a:extLst>
              <a:ext uri="{FF2B5EF4-FFF2-40B4-BE49-F238E27FC236}">
                <a16:creationId xmlns:a16="http://schemas.microsoft.com/office/drawing/2014/main" id="{887F6759-23A9-2CAE-7F7B-6B78395B9B82}"/>
              </a:ext>
            </a:extLst>
          </p:cNvPr>
          <p:cNvSpPr txBox="1"/>
          <p:nvPr/>
        </p:nvSpPr>
        <p:spPr>
          <a:xfrm>
            <a:off x="779404" y="7144960"/>
            <a:ext cx="112562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암모니아 사용량</a:t>
            </a:r>
            <a:endParaRPr lang="en-US" altLang="ko-KR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pPr algn="r"/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</a:t>
            </a:r>
            <a:r>
              <a:rPr lang="ko-KR" altLang="en-US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누적</a:t>
            </a: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cxnSp>
        <p:nvCxnSpPr>
          <p:cNvPr id="2119" name="직선 연결선 2118">
            <a:extLst>
              <a:ext uri="{FF2B5EF4-FFF2-40B4-BE49-F238E27FC236}">
                <a16:creationId xmlns:a16="http://schemas.microsoft.com/office/drawing/2014/main" id="{EC3A6757-607B-0723-1D35-E4ADA84CE984}"/>
              </a:ext>
            </a:extLst>
          </p:cNvPr>
          <p:cNvCxnSpPr>
            <a:cxnSpLocks/>
          </p:cNvCxnSpPr>
          <p:nvPr/>
        </p:nvCxnSpPr>
        <p:spPr>
          <a:xfrm flipV="1">
            <a:off x="1901052" y="8263584"/>
            <a:ext cx="811104" cy="246221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1" name="직선 연결선 2120">
            <a:extLst>
              <a:ext uri="{FF2B5EF4-FFF2-40B4-BE49-F238E27FC236}">
                <a16:creationId xmlns:a16="http://schemas.microsoft.com/office/drawing/2014/main" id="{C6C5168E-3037-D7DA-8E00-A6A0D783D576}"/>
              </a:ext>
            </a:extLst>
          </p:cNvPr>
          <p:cNvCxnSpPr>
            <a:cxnSpLocks/>
          </p:cNvCxnSpPr>
          <p:nvPr/>
        </p:nvCxnSpPr>
        <p:spPr>
          <a:xfrm flipV="1">
            <a:off x="2681987" y="8065942"/>
            <a:ext cx="850059" cy="20960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7" name="직선 연결선 2126">
            <a:extLst>
              <a:ext uri="{FF2B5EF4-FFF2-40B4-BE49-F238E27FC236}">
                <a16:creationId xmlns:a16="http://schemas.microsoft.com/office/drawing/2014/main" id="{BB630A17-3730-757D-FDC5-EDB48A912265}"/>
              </a:ext>
            </a:extLst>
          </p:cNvPr>
          <p:cNvCxnSpPr>
            <a:cxnSpLocks/>
          </p:cNvCxnSpPr>
          <p:nvPr/>
        </p:nvCxnSpPr>
        <p:spPr>
          <a:xfrm flipV="1">
            <a:off x="3532046" y="7769033"/>
            <a:ext cx="780265" cy="296909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8" name="직선 연결선 2127">
            <a:extLst>
              <a:ext uri="{FF2B5EF4-FFF2-40B4-BE49-F238E27FC236}">
                <a16:creationId xmlns:a16="http://schemas.microsoft.com/office/drawing/2014/main" id="{A553F648-000C-2FF4-B9A9-DA561AF1C45D}"/>
              </a:ext>
            </a:extLst>
          </p:cNvPr>
          <p:cNvCxnSpPr>
            <a:cxnSpLocks/>
          </p:cNvCxnSpPr>
          <p:nvPr/>
        </p:nvCxnSpPr>
        <p:spPr>
          <a:xfrm flipV="1">
            <a:off x="4309572" y="7406423"/>
            <a:ext cx="698894" cy="362610"/>
          </a:xfrm>
          <a:prstGeom prst="line">
            <a:avLst/>
          </a:prstGeom>
          <a:ln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9" name="TextBox 2128">
            <a:extLst>
              <a:ext uri="{FF2B5EF4-FFF2-40B4-BE49-F238E27FC236}">
                <a16:creationId xmlns:a16="http://schemas.microsoft.com/office/drawing/2014/main" id="{8FF8232D-6B67-5CD2-A7F5-52EBDC7EF9E8}"/>
              </a:ext>
            </a:extLst>
          </p:cNvPr>
          <p:cNvSpPr txBox="1"/>
          <p:nvPr/>
        </p:nvSpPr>
        <p:spPr>
          <a:xfrm>
            <a:off x="4738671" y="8511408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8 hour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cxnSp>
        <p:nvCxnSpPr>
          <p:cNvPr id="2130" name="직선 연결선 2129">
            <a:extLst>
              <a:ext uri="{FF2B5EF4-FFF2-40B4-BE49-F238E27FC236}">
                <a16:creationId xmlns:a16="http://schemas.microsoft.com/office/drawing/2014/main" id="{E5E2B3FD-7D4B-2B0E-F81E-C4481942A77B}"/>
              </a:ext>
            </a:extLst>
          </p:cNvPr>
          <p:cNvCxnSpPr>
            <a:cxnSpLocks/>
          </p:cNvCxnSpPr>
          <p:nvPr/>
        </p:nvCxnSpPr>
        <p:spPr>
          <a:xfrm flipV="1">
            <a:off x="1901316" y="8325311"/>
            <a:ext cx="807211" cy="184494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1" name="직선 연결선 2130">
            <a:extLst>
              <a:ext uri="{FF2B5EF4-FFF2-40B4-BE49-F238E27FC236}">
                <a16:creationId xmlns:a16="http://schemas.microsoft.com/office/drawing/2014/main" id="{412A028A-5CAF-69A3-843C-C53B07FF3A4F}"/>
              </a:ext>
            </a:extLst>
          </p:cNvPr>
          <p:cNvCxnSpPr>
            <a:cxnSpLocks/>
          </p:cNvCxnSpPr>
          <p:nvPr/>
        </p:nvCxnSpPr>
        <p:spPr>
          <a:xfrm flipV="1">
            <a:off x="2682251" y="8123998"/>
            <a:ext cx="850059" cy="20960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직선 연결선 2131">
            <a:extLst>
              <a:ext uri="{FF2B5EF4-FFF2-40B4-BE49-F238E27FC236}">
                <a16:creationId xmlns:a16="http://schemas.microsoft.com/office/drawing/2014/main" id="{2C5C9E11-411C-6351-FCC8-FF4AD77DA5FA}"/>
              </a:ext>
            </a:extLst>
          </p:cNvPr>
          <p:cNvCxnSpPr>
            <a:cxnSpLocks/>
          </p:cNvCxnSpPr>
          <p:nvPr/>
        </p:nvCxnSpPr>
        <p:spPr>
          <a:xfrm flipV="1">
            <a:off x="3532325" y="7889882"/>
            <a:ext cx="801802" cy="235930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7" name="직선 연결선 2136">
            <a:extLst>
              <a:ext uri="{FF2B5EF4-FFF2-40B4-BE49-F238E27FC236}">
                <a16:creationId xmlns:a16="http://schemas.microsoft.com/office/drawing/2014/main" id="{67C8278F-BF8A-A298-FF81-7D500A3F2988}"/>
              </a:ext>
            </a:extLst>
          </p:cNvPr>
          <p:cNvCxnSpPr>
            <a:cxnSpLocks/>
          </p:cNvCxnSpPr>
          <p:nvPr/>
        </p:nvCxnSpPr>
        <p:spPr>
          <a:xfrm flipV="1">
            <a:off x="4309836" y="7556053"/>
            <a:ext cx="691949" cy="343606"/>
          </a:xfrm>
          <a:prstGeom prst="line">
            <a:avLst/>
          </a:prstGeom>
          <a:ln>
            <a:solidFill>
              <a:srgbClr val="42AC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8" name="화살표: 아래쪽 2137">
            <a:extLst>
              <a:ext uri="{FF2B5EF4-FFF2-40B4-BE49-F238E27FC236}">
                <a16:creationId xmlns:a16="http://schemas.microsoft.com/office/drawing/2014/main" id="{BF6DCEE1-887A-C2AE-7071-F4E7DC45544B}"/>
              </a:ext>
            </a:extLst>
          </p:cNvPr>
          <p:cNvSpPr/>
          <p:nvPr/>
        </p:nvSpPr>
        <p:spPr>
          <a:xfrm>
            <a:off x="3797991" y="7826579"/>
            <a:ext cx="222790" cy="290208"/>
          </a:xfrm>
          <a:prstGeom prst="down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139" name="TextBox 2138">
            <a:extLst>
              <a:ext uri="{FF2B5EF4-FFF2-40B4-BE49-F238E27FC236}">
                <a16:creationId xmlns:a16="http://schemas.microsoft.com/office/drawing/2014/main" id="{BA92F900-55D5-90E2-3891-2060D956AF80}"/>
              </a:ext>
            </a:extLst>
          </p:cNvPr>
          <p:cNvSpPr txBox="1"/>
          <p:nvPr/>
        </p:nvSpPr>
        <p:spPr>
          <a:xfrm>
            <a:off x="3948988" y="7233247"/>
            <a:ext cx="97655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2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endParaRPr lang="ko-KR" altLang="en-US" sz="1050" dirty="0">
              <a:solidFill>
                <a:schemeClr val="accent2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0" name="TextBox 2139">
            <a:extLst>
              <a:ext uri="{FF2B5EF4-FFF2-40B4-BE49-F238E27FC236}">
                <a16:creationId xmlns:a16="http://schemas.microsoft.com/office/drawing/2014/main" id="{9EAFB5B9-DB74-09FD-2BE2-68FA1249D186}"/>
              </a:ext>
            </a:extLst>
          </p:cNvPr>
          <p:cNvSpPr txBox="1"/>
          <p:nvPr/>
        </p:nvSpPr>
        <p:spPr>
          <a:xfrm>
            <a:off x="4841700" y="7580463"/>
            <a:ext cx="123944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050" dirty="0">
                <a:solidFill>
                  <a:schemeClr val="accent1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Optimized Value</a:t>
            </a:r>
            <a:endParaRPr lang="ko-KR" altLang="en-US" sz="1050" dirty="0">
              <a:solidFill>
                <a:schemeClr val="accent1"/>
              </a:solidFill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41" name="TextBox 2140">
            <a:extLst>
              <a:ext uri="{FF2B5EF4-FFF2-40B4-BE49-F238E27FC236}">
                <a16:creationId xmlns:a16="http://schemas.microsoft.com/office/drawing/2014/main" id="{5B6147D2-1ED8-383D-41F6-BC401DF74FB1}"/>
              </a:ext>
            </a:extLst>
          </p:cNvPr>
          <p:cNvSpPr txBox="1"/>
          <p:nvPr/>
        </p:nvSpPr>
        <p:spPr>
          <a:xfrm>
            <a:off x="4012665" y="8052381"/>
            <a:ext cx="207620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암모니아 사용량 절감</a:t>
            </a:r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2.5% </a:t>
            </a:r>
            <a:r>
              <a:rPr lang="ko-KR" altLang="en-US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이상</a:t>
            </a:r>
          </a:p>
        </p:txBody>
      </p:sp>
      <p:sp>
        <p:nvSpPr>
          <p:cNvPr id="3" name="사각형: 둥근 모서리 2">
            <a:extLst>
              <a:ext uri="{FF2B5EF4-FFF2-40B4-BE49-F238E27FC236}">
                <a16:creationId xmlns:a16="http://schemas.microsoft.com/office/drawing/2014/main" id="{ABD25370-321B-ABB3-E8EF-36CDCB1F43BB}"/>
              </a:ext>
            </a:extLst>
          </p:cNvPr>
          <p:cNvSpPr/>
          <p:nvPr/>
        </p:nvSpPr>
        <p:spPr>
          <a:xfrm>
            <a:off x="6110860" y="5440071"/>
            <a:ext cx="1002727" cy="928051"/>
          </a:xfrm>
          <a:prstGeom prst="roundRect">
            <a:avLst/>
          </a:prstGeom>
          <a:solidFill>
            <a:schemeClr val="bg1"/>
          </a:solidFill>
          <a:ln>
            <a:solidFill>
              <a:srgbClr val="42AC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3AAF6F-8CA1-51FC-A205-C03351C91691}"/>
              </a:ext>
            </a:extLst>
          </p:cNvPr>
          <p:cNvSpPr txBox="1"/>
          <p:nvPr/>
        </p:nvSpPr>
        <p:spPr>
          <a:xfrm>
            <a:off x="6044136" y="5294433"/>
            <a:ext cx="1094852" cy="21672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5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Optimized Value</a:t>
            </a:r>
            <a:endParaRPr lang="ko-KR" altLang="en-US" sz="105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7" name="화살표: 오른쪽 6">
            <a:extLst>
              <a:ext uri="{FF2B5EF4-FFF2-40B4-BE49-F238E27FC236}">
                <a16:creationId xmlns:a16="http://schemas.microsoft.com/office/drawing/2014/main" id="{69CF84EC-EAD6-8E3C-6F89-C3E8F989379F}"/>
              </a:ext>
            </a:extLst>
          </p:cNvPr>
          <p:cNvSpPr/>
          <p:nvPr/>
        </p:nvSpPr>
        <p:spPr>
          <a:xfrm>
            <a:off x="5582691" y="5850287"/>
            <a:ext cx="498451" cy="216726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C1C929-9E25-EEFF-FDE2-AE36252B878E}"/>
              </a:ext>
            </a:extLst>
          </p:cNvPr>
          <p:cNvSpPr txBox="1"/>
          <p:nvPr/>
        </p:nvSpPr>
        <p:spPr>
          <a:xfrm>
            <a:off x="6247433" y="5594288"/>
            <a:ext cx="713658" cy="246221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r>
              <a:rPr lang="ko-KR" altLang="en-US" sz="100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 </a:t>
            </a:r>
            <a:r>
              <a:rPr lang="en-US" altLang="ko-KR" sz="1000" dirty="0">
                <a:solidFill>
                  <a:srgbClr val="C00000"/>
                </a:solidFill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16%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95EB6E-F385-F821-AB73-C1B7B6CFC21D}"/>
              </a:ext>
            </a:extLst>
          </p:cNvPr>
          <p:cNvSpPr txBox="1"/>
          <p:nvPr/>
        </p:nvSpPr>
        <p:spPr>
          <a:xfrm>
            <a:off x="6124709" y="5844273"/>
            <a:ext cx="1000595" cy="4858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ctual Value</a:t>
            </a:r>
            <a:br>
              <a:rPr lang="en-US" altLang="ko-KR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ko-KR" altLang="en-US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보다 더 작은 </a:t>
            </a:r>
            <a:r>
              <a:rPr lang="en-US" altLang="ko-KR" sz="9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endParaRPr lang="ko-KR" altLang="en-US" sz="9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512965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7D82F3EB-09F9-3CD6-6714-2FC173C67827}"/>
              </a:ext>
            </a:extLst>
          </p:cNvPr>
          <p:cNvSpPr/>
          <p:nvPr/>
        </p:nvSpPr>
        <p:spPr>
          <a:xfrm>
            <a:off x="6301017" y="0"/>
            <a:ext cx="5389123" cy="146887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8451D5-4FF5-E709-3033-8074E9298A3D}"/>
              </a:ext>
            </a:extLst>
          </p:cNvPr>
          <p:cNvSpPr txBox="1"/>
          <p:nvPr/>
        </p:nvSpPr>
        <p:spPr>
          <a:xfrm>
            <a:off x="6270061" y="600075"/>
            <a:ext cx="839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sets</a:t>
            </a:r>
            <a:endParaRPr lang="ko-KR" altLang="en-US" sz="12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4" name="타원 3">
            <a:extLst>
              <a:ext uri="{FF2B5EF4-FFF2-40B4-BE49-F238E27FC236}">
                <a16:creationId xmlns:a16="http://schemas.microsoft.com/office/drawing/2014/main" id="{2B4C48A4-E1A8-F3F4-15EF-1C3180643384}"/>
              </a:ext>
            </a:extLst>
          </p:cNvPr>
          <p:cNvSpPr/>
          <p:nvPr/>
        </p:nvSpPr>
        <p:spPr>
          <a:xfrm>
            <a:off x="7960458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8A2680-4B8D-6ECC-50FA-653BB8640846}"/>
              </a:ext>
            </a:extLst>
          </p:cNvPr>
          <p:cNvSpPr txBox="1"/>
          <p:nvPr/>
        </p:nvSpPr>
        <p:spPr>
          <a:xfrm>
            <a:off x="7989033" y="957128"/>
            <a:ext cx="6639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GT ACTLD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6" name="타원 5">
            <a:extLst>
              <a:ext uri="{FF2B5EF4-FFF2-40B4-BE49-F238E27FC236}">
                <a16:creationId xmlns:a16="http://schemas.microsoft.com/office/drawing/2014/main" id="{EFCCC2E7-C683-7259-BFA2-B14EB2ADA88C}"/>
              </a:ext>
            </a:extLst>
          </p:cNvPr>
          <p:cNvSpPr/>
          <p:nvPr/>
        </p:nvSpPr>
        <p:spPr>
          <a:xfrm>
            <a:off x="8773496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39496D-5936-EBB5-754E-F9686251F169}"/>
              </a:ext>
            </a:extLst>
          </p:cNvPr>
          <p:cNvSpPr txBox="1"/>
          <p:nvPr/>
        </p:nvSpPr>
        <p:spPr>
          <a:xfrm>
            <a:off x="8800642" y="911694"/>
            <a:ext cx="6896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AMMONIA </a:t>
            </a:r>
            <a:b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</a:br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CV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8" name="타원 7">
            <a:extLst>
              <a:ext uri="{FF2B5EF4-FFF2-40B4-BE49-F238E27FC236}">
                <a16:creationId xmlns:a16="http://schemas.microsoft.com/office/drawing/2014/main" id="{B5A384C8-E403-8281-951E-771248C9564F}"/>
              </a:ext>
            </a:extLst>
          </p:cNvPr>
          <p:cNvSpPr/>
          <p:nvPr/>
        </p:nvSpPr>
        <p:spPr>
          <a:xfrm>
            <a:off x="9592646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9545BF-D7B8-197A-2E87-82AD6536021C}"/>
              </a:ext>
            </a:extLst>
          </p:cNvPr>
          <p:cNvSpPr txBox="1"/>
          <p:nvPr/>
        </p:nvSpPr>
        <p:spPr>
          <a:xfrm>
            <a:off x="9611696" y="957128"/>
            <a:ext cx="7024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INLET NOx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7B828E05-333A-2E1D-724D-054287C3B876}"/>
              </a:ext>
            </a:extLst>
          </p:cNvPr>
          <p:cNvSpPr/>
          <p:nvPr/>
        </p:nvSpPr>
        <p:spPr>
          <a:xfrm>
            <a:off x="10426078" y="714375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A8A46-10A5-F4B2-6D3D-0B0A0DFBA82D}"/>
              </a:ext>
            </a:extLst>
          </p:cNvPr>
          <p:cNvSpPr txBox="1"/>
          <p:nvPr/>
        </p:nvSpPr>
        <p:spPr>
          <a:xfrm>
            <a:off x="10568953" y="957128"/>
            <a:ext cx="4587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EMP</a:t>
            </a:r>
            <a:endParaRPr lang="ko-KR" altLang="en-US" sz="8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1ACB29-B94D-03C3-EEE6-7311FB719DC5}"/>
              </a:ext>
            </a:extLst>
          </p:cNvPr>
          <p:cNvSpPr txBox="1"/>
          <p:nvPr/>
        </p:nvSpPr>
        <p:spPr>
          <a:xfrm>
            <a:off x="11139728" y="815518"/>
            <a:ext cx="610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/>
              <a:t>… …  </a:t>
            </a:r>
            <a:endParaRPr lang="ko-KR" altLang="en-US" dirty="0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69562582-BAF2-4870-067A-EBB0EE08F491}"/>
              </a:ext>
            </a:extLst>
          </p:cNvPr>
          <p:cNvSpPr/>
          <p:nvPr/>
        </p:nvSpPr>
        <p:spPr>
          <a:xfrm>
            <a:off x="7991721" y="106338"/>
            <a:ext cx="3359150" cy="26670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3CFCB9D-88E5-D98B-9826-F74354D135F4}"/>
              </a:ext>
            </a:extLst>
          </p:cNvPr>
          <p:cNvSpPr/>
          <p:nvPr/>
        </p:nvSpPr>
        <p:spPr>
          <a:xfrm>
            <a:off x="9090271" y="106338"/>
            <a:ext cx="1155700" cy="26670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C8C847-DF08-4D92-4348-AB89F89BEA7B}"/>
              </a:ext>
            </a:extLst>
          </p:cNvPr>
          <p:cNvSpPr txBox="1"/>
          <p:nvPr/>
        </p:nvSpPr>
        <p:spPr>
          <a:xfrm>
            <a:off x="88504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9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3120D89-1B56-731E-BE62-371ED30AF990}"/>
              </a:ext>
            </a:extLst>
          </p:cNvPr>
          <p:cNvSpPr txBox="1"/>
          <p:nvPr/>
        </p:nvSpPr>
        <p:spPr>
          <a:xfrm>
            <a:off x="942831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0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EC5E79-4886-496E-FF1D-BC2692A32CDC}"/>
              </a:ext>
            </a:extLst>
          </p:cNvPr>
          <p:cNvSpPr txBox="1"/>
          <p:nvPr/>
        </p:nvSpPr>
        <p:spPr>
          <a:xfrm>
            <a:off x="100061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1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AA8C875-F568-7021-0BDF-482B91E6B7DA}"/>
              </a:ext>
            </a:extLst>
          </p:cNvPr>
          <p:cNvSpPr txBox="1"/>
          <p:nvPr/>
        </p:nvSpPr>
        <p:spPr>
          <a:xfrm>
            <a:off x="11111062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25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C00B28-7CF1-ED7E-AC95-A45874631265}"/>
              </a:ext>
            </a:extLst>
          </p:cNvPr>
          <p:cNvSpPr txBox="1"/>
          <p:nvPr/>
        </p:nvSpPr>
        <p:spPr>
          <a:xfrm>
            <a:off x="7804203" y="37131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2017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C663F1F-9975-EFDA-9472-D33B317DDCD7}"/>
              </a:ext>
            </a:extLst>
          </p:cNvPr>
          <p:cNvSpPr txBox="1"/>
          <p:nvPr/>
        </p:nvSpPr>
        <p:spPr>
          <a:xfrm>
            <a:off x="7028936" y="125914"/>
            <a:ext cx="9252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Timeframe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C7ED94-AF04-D0E5-1578-FF7A6973F196}"/>
              </a:ext>
            </a:extLst>
          </p:cNvPr>
          <p:cNvSpPr txBox="1"/>
          <p:nvPr/>
        </p:nvSpPr>
        <p:spPr>
          <a:xfrm>
            <a:off x="7101880" y="943570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Features</a:t>
            </a:r>
            <a:endParaRPr lang="ko-KR" altLang="en-US" sz="11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3C3B8B13-D12E-31A7-DE32-CAC9DBDDDC82}"/>
              </a:ext>
            </a:extLst>
          </p:cNvPr>
          <p:cNvSpPr/>
          <p:nvPr/>
        </p:nvSpPr>
        <p:spPr>
          <a:xfrm>
            <a:off x="6301017" y="1677129"/>
            <a:ext cx="5389123" cy="116537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F6055AC-EC4A-A06E-4E19-B67AF6E5887E}"/>
              </a:ext>
            </a:extLst>
          </p:cNvPr>
          <p:cNvSpPr txBox="1"/>
          <p:nvPr/>
        </p:nvSpPr>
        <p:spPr>
          <a:xfrm>
            <a:off x="9304719" y="2542915"/>
            <a:ext cx="15359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Preprocess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24" name="그래픽 23" descr="데이터베이스 단색으로 채워진">
            <a:extLst>
              <a:ext uri="{FF2B5EF4-FFF2-40B4-BE49-F238E27FC236}">
                <a16:creationId xmlns:a16="http://schemas.microsoft.com/office/drawing/2014/main" id="{FDFBFBC7-0305-A54E-C461-12E437915A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27601" y="1771884"/>
            <a:ext cx="1012708" cy="722095"/>
          </a:xfrm>
          <a:prstGeom prst="rect">
            <a:avLst/>
          </a:prstGeom>
        </p:spPr>
      </p:pic>
      <p:sp>
        <p:nvSpPr>
          <p:cNvPr id="25" name="직사각형 24">
            <a:extLst>
              <a:ext uri="{FF2B5EF4-FFF2-40B4-BE49-F238E27FC236}">
                <a16:creationId xmlns:a16="http://schemas.microsoft.com/office/drawing/2014/main" id="{BF1021EA-D08F-74D7-594B-5A876023803A}"/>
              </a:ext>
            </a:extLst>
          </p:cNvPr>
          <p:cNvSpPr/>
          <p:nvPr/>
        </p:nvSpPr>
        <p:spPr>
          <a:xfrm>
            <a:off x="9754413" y="2082430"/>
            <a:ext cx="295275" cy="320221"/>
          </a:xfrm>
          <a:prstGeom prst="rect">
            <a:avLst/>
          </a:prstGeom>
          <a:solidFill>
            <a:schemeClr val="bg1"/>
          </a:solidFill>
          <a:ln w="19050">
            <a:solidFill>
              <a:srgbClr val="5B9BD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6" name="그래픽 25" descr="톱니바퀴 윤곽선">
            <a:extLst>
              <a:ext uri="{FF2B5EF4-FFF2-40B4-BE49-F238E27FC236}">
                <a16:creationId xmlns:a16="http://schemas.microsoft.com/office/drawing/2014/main" id="{46301EC0-7914-6314-A8A7-2835FA921C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85763" y="2082430"/>
            <a:ext cx="430600" cy="339271"/>
          </a:xfrm>
          <a:prstGeom prst="rect">
            <a:avLst/>
          </a:prstGeom>
        </p:spPr>
      </p:pic>
      <p:pic>
        <p:nvPicPr>
          <p:cNvPr id="27" name="그래픽 26" descr="데이터베이스 단색으로 채워진">
            <a:extLst>
              <a:ext uri="{FF2B5EF4-FFF2-40B4-BE49-F238E27FC236}">
                <a16:creationId xmlns:a16="http://schemas.microsoft.com/office/drawing/2014/main" id="{B460DA07-9ACB-0B06-50FF-43BB832A9F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7284673" y="1806355"/>
            <a:ext cx="632750" cy="451173"/>
          </a:xfrm>
          <a:prstGeom prst="rect">
            <a:avLst/>
          </a:prstGeom>
        </p:spPr>
      </p:pic>
      <p:pic>
        <p:nvPicPr>
          <p:cNvPr id="28" name="그래픽 27" descr="데이터베이스 단색으로 채워진">
            <a:extLst>
              <a:ext uri="{FF2B5EF4-FFF2-40B4-BE49-F238E27FC236}">
                <a16:creationId xmlns:a16="http://schemas.microsoft.com/office/drawing/2014/main" id="{801DAF3D-585E-BEE2-B8DC-BD7C984056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7673953" y="1806355"/>
            <a:ext cx="632750" cy="451173"/>
          </a:xfrm>
          <a:prstGeom prst="rect">
            <a:avLst/>
          </a:prstGeom>
        </p:spPr>
      </p:pic>
      <p:pic>
        <p:nvPicPr>
          <p:cNvPr id="29" name="그래픽 28" descr="데이터베이스 단색으로 채워진">
            <a:extLst>
              <a:ext uri="{FF2B5EF4-FFF2-40B4-BE49-F238E27FC236}">
                <a16:creationId xmlns:a16="http://schemas.microsoft.com/office/drawing/2014/main" id="{0DB7E9AB-0591-1E3F-A159-1012B160BA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7478680" y="1997038"/>
            <a:ext cx="632750" cy="45117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0801912-26EC-8CFB-7606-D89F0C550002}"/>
              </a:ext>
            </a:extLst>
          </p:cNvPr>
          <p:cNvSpPr txBox="1"/>
          <p:nvPr/>
        </p:nvSpPr>
        <p:spPr>
          <a:xfrm>
            <a:off x="7300813" y="2542915"/>
            <a:ext cx="11544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Data Cleaning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pic>
        <p:nvPicPr>
          <p:cNvPr id="31" name="그래픽 30" descr="가위 윤곽선">
            <a:extLst>
              <a:ext uri="{FF2B5EF4-FFF2-40B4-BE49-F238E27FC236}">
                <a16:creationId xmlns:a16="http://schemas.microsoft.com/office/drawing/2014/main" id="{413238F4-2C8A-08B2-E4D5-65FEE0BE1B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7951254" y="2161005"/>
            <a:ext cx="367980" cy="367980"/>
          </a:xfrm>
          <a:prstGeom prst="rect">
            <a:avLst/>
          </a:prstGeom>
        </p:spPr>
      </p:pic>
      <p:sp>
        <p:nvSpPr>
          <p:cNvPr id="32" name="직사각형 31">
            <a:extLst>
              <a:ext uri="{FF2B5EF4-FFF2-40B4-BE49-F238E27FC236}">
                <a16:creationId xmlns:a16="http://schemas.microsoft.com/office/drawing/2014/main" id="{30EC4B54-A769-315A-AD72-D2BEB3322408}"/>
              </a:ext>
            </a:extLst>
          </p:cNvPr>
          <p:cNvSpPr/>
          <p:nvPr/>
        </p:nvSpPr>
        <p:spPr>
          <a:xfrm>
            <a:off x="6300559" y="3041738"/>
            <a:ext cx="5389123" cy="35622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화살표: 오른쪽 32">
            <a:extLst>
              <a:ext uri="{FF2B5EF4-FFF2-40B4-BE49-F238E27FC236}">
                <a16:creationId xmlns:a16="http://schemas.microsoft.com/office/drawing/2014/main" id="{4CDBDA9E-571C-8A32-AC9B-41A22B86DE0C}"/>
              </a:ext>
            </a:extLst>
          </p:cNvPr>
          <p:cNvSpPr/>
          <p:nvPr/>
        </p:nvSpPr>
        <p:spPr>
          <a:xfrm>
            <a:off x="8230421" y="4343242"/>
            <a:ext cx="437967" cy="238125"/>
          </a:xfrm>
          <a:prstGeom prst="rightArrow">
            <a:avLst/>
          </a:prstGeom>
          <a:solidFill>
            <a:srgbClr val="42ACC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4" name="그림 33" descr="텍스트, 도표, 지도이(가) 표시된 사진&#10;&#10;자동 생성된 설명">
            <a:extLst>
              <a:ext uri="{FF2B5EF4-FFF2-40B4-BE49-F238E27FC236}">
                <a16:creationId xmlns:a16="http://schemas.microsoft.com/office/drawing/2014/main" id="{98DF2572-2CF2-EBAC-F5F0-B19DE83FDF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496" y="3185981"/>
            <a:ext cx="2880000" cy="309913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33892C10-60B9-90AF-8269-A795234C9EB5}"/>
              </a:ext>
            </a:extLst>
          </p:cNvPr>
          <p:cNvSpPr txBox="1"/>
          <p:nvPr/>
        </p:nvSpPr>
        <p:spPr>
          <a:xfrm>
            <a:off x="9200060" y="6038750"/>
            <a:ext cx="230543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FCV Optimization</a:t>
            </a:r>
          </a:p>
          <a:p>
            <a:pPr algn="ctr">
              <a:lnSpc>
                <a:spcPct val="150000"/>
              </a:lnSpc>
            </a:pPr>
            <a:r>
              <a:rPr lang="en-US" altLang="ko-KR" sz="1100" dirty="0">
                <a:latin typeface="Noto Sans CJK KR Bold" panose="020B0800000000000000" pitchFamily="34" charset="-127"/>
                <a:ea typeface="Noto Sans CJK KR Bold" panose="020B0800000000000000" pitchFamily="34" charset="-127"/>
              </a:rPr>
              <a:t>(Particle Swarm Optimization)</a:t>
            </a:r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  <a:p>
            <a:endParaRPr lang="ko-KR" altLang="en-US" sz="1100" dirty="0">
              <a:latin typeface="Noto Sans CJK KR Bold" panose="020B0800000000000000" pitchFamily="34" charset="-127"/>
              <a:ea typeface="Noto Sans CJK KR Bold" panose="020B0800000000000000" pitchFamily="34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312D6F5-7039-2A69-A068-D6145A1BACA3}"/>
              </a:ext>
            </a:extLst>
          </p:cNvPr>
          <p:cNvSpPr txBox="1"/>
          <p:nvPr/>
        </p:nvSpPr>
        <p:spPr>
          <a:xfrm>
            <a:off x="9177943" y="133608"/>
            <a:ext cx="10398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000" dirty="0">
                <a:latin typeface="Noto Sans CJK KR Medium" panose="020B0600000000000000" pitchFamily="34" charset="-127"/>
                <a:ea typeface="Noto Sans CJK KR Medium" panose="020B0600000000000000" pitchFamily="34" charset="-127"/>
              </a:rPr>
              <a:t>Reliable Data</a:t>
            </a:r>
            <a:endParaRPr lang="ko-KR" altLang="en-US" sz="1000" dirty="0">
              <a:latin typeface="Noto Sans CJK KR Medium" panose="020B0600000000000000" pitchFamily="34" charset="-127"/>
              <a:ea typeface="Noto Sans CJK KR Medium" panose="020B0600000000000000" pitchFamily="34" charset="-127"/>
            </a:endParaRPr>
          </a:p>
        </p:txBody>
      </p:sp>
      <p:sp>
        <p:nvSpPr>
          <p:cNvPr id="37" name="화살표: 아래쪽 36">
            <a:extLst>
              <a:ext uri="{FF2B5EF4-FFF2-40B4-BE49-F238E27FC236}">
                <a16:creationId xmlns:a16="http://schemas.microsoft.com/office/drawing/2014/main" id="{C4D42611-0751-F93E-6AA9-7D1AF5151B34}"/>
              </a:ext>
            </a:extLst>
          </p:cNvPr>
          <p:cNvSpPr/>
          <p:nvPr/>
        </p:nvSpPr>
        <p:spPr>
          <a:xfrm>
            <a:off x="8850462" y="1468877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화살표: 아래쪽 37">
            <a:extLst>
              <a:ext uri="{FF2B5EF4-FFF2-40B4-BE49-F238E27FC236}">
                <a16:creationId xmlns:a16="http://schemas.microsoft.com/office/drawing/2014/main" id="{596DD299-A016-DEB0-C38F-0156FBA9258A}"/>
              </a:ext>
            </a:extLst>
          </p:cNvPr>
          <p:cNvSpPr/>
          <p:nvPr/>
        </p:nvSpPr>
        <p:spPr>
          <a:xfrm>
            <a:off x="8855722" y="2858354"/>
            <a:ext cx="349598" cy="30004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26261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IjnOT_30GjhhJYWfqL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IjnOT_30GjhhJYWfqL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5SIpQgjUaRiXuzH_zo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5SIpQgjUaRiXuzH_zo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IjnOT_30GjhhJYWfqL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5SIpQgjUaRiXuzH_zo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5SIpQgjUaRiXuzH_zoQ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027</TotalTime>
  <Words>1245</Words>
  <Application>Microsoft Office PowerPoint</Application>
  <PresentationFormat>와이드스크린</PresentationFormat>
  <Paragraphs>522</Paragraphs>
  <Slides>11</Slides>
  <Notes>6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8" baseType="lpstr">
      <vt:lpstr>Noto Sans CJK KR Bold</vt:lpstr>
      <vt:lpstr>Noto Sans CJK KR Medium</vt:lpstr>
      <vt:lpstr>Noto Sans CJK KR Regular</vt:lpstr>
      <vt:lpstr>Noto Sans Korean Regular</vt:lpstr>
      <vt:lpstr>맑은 고딕</vt:lpstr>
      <vt:lpstr>Arial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배종주(Jongju Bae) 수석 두산에너빌리티</dc:creator>
  <cp:lastModifiedBy>배종주(Jongju Bae) 수석 두산에너빌리티</cp:lastModifiedBy>
  <cp:revision>120</cp:revision>
  <dcterms:created xsi:type="dcterms:W3CDTF">2024-11-08T04:18:33Z</dcterms:created>
  <dcterms:modified xsi:type="dcterms:W3CDTF">2025-04-18T02:06:39Z</dcterms:modified>
</cp:coreProperties>
</file>